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  <p:sldMasterId id="2147483696" r:id="rId5"/>
  </p:sldMasterIdLst>
  <p:notesMasterIdLst>
    <p:notesMasterId r:id="rId42"/>
  </p:notesMasterIdLst>
  <p:sldIdLst>
    <p:sldId id="256" r:id="rId6"/>
    <p:sldId id="257" r:id="rId7"/>
    <p:sldId id="267" r:id="rId8"/>
    <p:sldId id="262" r:id="rId9"/>
    <p:sldId id="268" r:id="rId10"/>
    <p:sldId id="259" r:id="rId11"/>
    <p:sldId id="261" r:id="rId12"/>
    <p:sldId id="260" r:id="rId13"/>
    <p:sldId id="269" r:id="rId14"/>
    <p:sldId id="270" r:id="rId15"/>
    <p:sldId id="263" r:id="rId16"/>
    <p:sldId id="2145705559" r:id="rId17"/>
    <p:sldId id="2145705560" r:id="rId18"/>
    <p:sldId id="2145705567" r:id="rId19"/>
    <p:sldId id="2145705568" r:id="rId20"/>
    <p:sldId id="2145705569" r:id="rId21"/>
    <p:sldId id="2145705561" r:id="rId22"/>
    <p:sldId id="2145705570" r:id="rId23"/>
    <p:sldId id="2145705571" r:id="rId24"/>
    <p:sldId id="2145705572" r:id="rId25"/>
    <p:sldId id="2145705562" r:id="rId26"/>
    <p:sldId id="2145705573" r:id="rId27"/>
    <p:sldId id="2145705574" r:id="rId28"/>
    <p:sldId id="2145705575" r:id="rId29"/>
    <p:sldId id="2145705576" r:id="rId30"/>
    <p:sldId id="2145705577" r:id="rId31"/>
    <p:sldId id="2145705563" r:id="rId32"/>
    <p:sldId id="2145705582" r:id="rId33"/>
    <p:sldId id="1448" r:id="rId34"/>
    <p:sldId id="1498" r:id="rId35"/>
    <p:sldId id="2145705565" r:id="rId36"/>
    <p:sldId id="2145705581" r:id="rId37"/>
    <p:sldId id="265" r:id="rId38"/>
    <p:sldId id="2147376307" r:id="rId39"/>
    <p:sldId id="264" r:id="rId40"/>
    <p:sldId id="266" r:id="rId41"/>
  </p:sldIdLst>
  <p:sldSz cx="12192000" cy="6858000"/>
  <p:notesSz cx="6858000" cy="9144000"/>
  <p:defaultTextStyle>
    <a:defPPr>
      <a:defRPr lang="LID4096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497C"/>
    <a:srgbClr val="022A4F"/>
    <a:srgbClr val="04549C"/>
    <a:srgbClr val="024BC2"/>
    <a:srgbClr val="012E57"/>
    <a:srgbClr val="023570"/>
    <a:srgbClr val="FFFFFF"/>
    <a:srgbClr val="005CAB"/>
    <a:srgbClr val="8BDCF8"/>
    <a:srgbClr val="63DB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73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anchor="t" anchorCtr="0"/>
          <a:lstStyle/>
          <a:p>
            <a:pPr algn="l">
              <a:defRPr sz="2200" b="0">
                <a:latin typeface="Palatino Linotype" pitchFamily="18" charset="0"/>
              </a:defRPr>
            </a:pPr>
            <a:r>
              <a:rPr lang="fi-FI" sz="2200" b="0" dirty="0">
                <a:latin typeface="Palatino Linotype" pitchFamily="18" charset="0"/>
              </a:rPr>
              <a:t>Market </a:t>
            </a:r>
            <a:r>
              <a:rPr lang="fi-FI" sz="2200" b="0" dirty="0" err="1">
                <a:latin typeface="Palatino Linotype" pitchFamily="18" charset="0"/>
              </a:rPr>
              <a:t>Shares</a:t>
            </a:r>
            <a:r>
              <a:rPr lang="fi-FI" sz="2200" b="0" baseline="0" dirty="0">
                <a:latin typeface="Palatino Linotype" pitchFamily="18" charset="0"/>
              </a:rPr>
              <a:t> of Mobile Smartphone Operating Systems</a:t>
            </a:r>
            <a:endParaRPr lang="en-US" sz="1400" b="0" dirty="0">
              <a:latin typeface="Palatino Linotype" pitchFamily="18" charset="0"/>
            </a:endParaRPr>
          </a:p>
        </c:rich>
      </c:tx>
      <c:overlay val="0"/>
    </c:title>
    <c:autoTitleDeleted val="0"/>
    <c:plotArea>
      <c:layout/>
      <c:areaChart>
        <c:grouping val="percentStacked"/>
        <c:varyColors val="0"/>
        <c:ser>
          <c:idx val="0"/>
          <c:order val="0"/>
          <c:spPr>
            <a:solidFill>
              <a:srgbClr val="720047"/>
            </a:solidFill>
            <a:ln w="25400">
              <a:solidFill>
                <a:schemeClr val="bg1"/>
              </a:solidFill>
            </a:ln>
          </c:spPr>
          <c:cat>
            <c:numRef>
              <c:f>Sheet1!$A$2:$A$7</c:f>
              <c:numCache>
                <c:formatCode>dd\-mm\-yy</c:formatCode>
                <c:ptCount val="6"/>
                <c:pt idx="0">
                  <c:v>39813</c:v>
                </c:pt>
                <c:pt idx="1">
                  <c:v>40178</c:v>
                </c:pt>
                <c:pt idx="2">
                  <c:v>40543</c:v>
                </c:pt>
                <c:pt idx="3">
                  <c:v>40908</c:v>
                </c:pt>
                <c:pt idx="4">
                  <c:v>41274</c:v>
                </c:pt>
                <c:pt idx="5">
                  <c:v>41456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72933.5</c:v>
                </c:pt>
                <c:pt idx="1">
                  <c:v>80878.600000000006</c:v>
                </c:pt>
                <c:pt idx="2">
                  <c:v>111576.7</c:v>
                </c:pt>
                <c:pt idx="3">
                  <c:v>88410.2</c:v>
                </c:pt>
                <c:pt idx="4">
                  <c:v>32307.599999999999</c:v>
                </c:pt>
                <c:pt idx="5">
                  <c:v>198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65-48C2-BF6A-E952280E7D86}"/>
            </c:ext>
          </c:extLst>
        </c:ser>
        <c:ser>
          <c:idx val="1"/>
          <c:order val="1"/>
          <c:spPr>
            <a:solidFill>
              <a:srgbClr val="9F1922"/>
            </a:solidFill>
            <a:ln w="25400">
              <a:solidFill>
                <a:schemeClr val="bg1"/>
              </a:solidFill>
            </a:ln>
          </c:spPr>
          <c:cat>
            <c:numRef>
              <c:f>Sheet1!$A$2:$A$7</c:f>
              <c:numCache>
                <c:formatCode>dd\-mm\-yy</c:formatCode>
                <c:ptCount val="6"/>
                <c:pt idx="0">
                  <c:v>39813</c:v>
                </c:pt>
                <c:pt idx="1">
                  <c:v>40178</c:v>
                </c:pt>
                <c:pt idx="2">
                  <c:v>40543</c:v>
                </c:pt>
                <c:pt idx="3">
                  <c:v>40908</c:v>
                </c:pt>
                <c:pt idx="4">
                  <c:v>41274</c:v>
                </c:pt>
                <c:pt idx="5">
                  <c:v>41456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640.5</c:v>
                </c:pt>
                <c:pt idx="1">
                  <c:v>6798.4</c:v>
                </c:pt>
                <c:pt idx="2">
                  <c:v>67224.5</c:v>
                </c:pt>
                <c:pt idx="3">
                  <c:v>219440.2</c:v>
                </c:pt>
                <c:pt idx="4">
                  <c:v>448991.8</c:v>
                </c:pt>
                <c:pt idx="5">
                  <c:v>33408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65-48C2-BF6A-E952280E7D86}"/>
            </c:ext>
          </c:extLst>
        </c:ser>
        <c:ser>
          <c:idx val="2"/>
          <c:order val="2"/>
          <c:spPr>
            <a:solidFill>
              <a:srgbClr val="6695B1"/>
            </a:solidFill>
            <a:ln w="25400">
              <a:solidFill>
                <a:schemeClr val="bg1"/>
              </a:solidFill>
            </a:ln>
          </c:spPr>
          <c:cat>
            <c:numRef>
              <c:f>Sheet1!$A$2:$A$7</c:f>
              <c:numCache>
                <c:formatCode>dd\-mm\-yy</c:formatCode>
                <c:ptCount val="6"/>
                <c:pt idx="0">
                  <c:v>39813</c:v>
                </c:pt>
                <c:pt idx="1">
                  <c:v>40178</c:v>
                </c:pt>
                <c:pt idx="2">
                  <c:v>40543</c:v>
                </c:pt>
                <c:pt idx="3">
                  <c:v>40908</c:v>
                </c:pt>
                <c:pt idx="4">
                  <c:v>41274</c:v>
                </c:pt>
                <c:pt idx="5">
                  <c:v>41456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11417.5</c:v>
                </c:pt>
                <c:pt idx="1">
                  <c:v>24889.8</c:v>
                </c:pt>
                <c:pt idx="2">
                  <c:v>46598.3</c:v>
                </c:pt>
                <c:pt idx="3">
                  <c:v>89263.3</c:v>
                </c:pt>
                <c:pt idx="4">
                  <c:v>155138.79999999999</c:v>
                </c:pt>
                <c:pt idx="5">
                  <c:v>7023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65-48C2-BF6A-E952280E7D86}"/>
            </c:ext>
          </c:extLst>
        </c:ser>
        <c:ser>
          <c:idx val="3"/>
          <c:order val="3"/>
          <c:spPr>
            <a:solidFill>
              <a:srgbClr val="9FD5D7"/>
            </a:solidFill>
            <a:ln w="25400">
              <a:noFill/>
            </a:ln>
          </c:spPr>
          <c:cat>
            <c:numRef>
              <c:f>Sheet1!$A$2:$A$7</c:f>
              <c:numCache>
                <c:formatCode>dd\-mm\-yy</c:formatCode>
                <c:ptCount val="6"/>
                <c:pt idx="0">
                  <c:v>39813</c:v>
                </c:pt>
                <c:pt idx="1">
                  <c:v>40178</c:v>
                </c:pt>
                <c:pt idx="2">
                  <c:v>40543</c:v>
                </c:pt>
                <c:pt idx="3">
                  <c:v>40908</c:v>
                </c:pt>
                <c:pt idx="4">
                  <c:v>41274</c:v>
                </c:pt>
                <c:pt idx="5">
                  <c:v>41456</c:v>
                </c:pt>
              </c:numCache>
            </c:numRef>
          </c:cat>
          <c:val>
            <c:numRef>
              <c:f>Sheet1!$E$2:$E$7</c:f>
              <c:numCache>
                <c:formatCode>General</c:formatCode>
                <c:ptCount val="6"/>
                <c:pt idx="0">
                  <c:v>23149</c:v>
                </c:pt>
                <c:pt idx="1">
                  <c:v>34346.6</c:v>
                </c:pt>
                <c:pt idx="2">
                  <c:v>47451.6</c:v>
                </c:pt>
                <c:pt idx="3">
                  <c:v>51541.9</c:v>
                </c:pt>
                <c:pt idx="4">
                  <c:v>35861</c:v>
                </c:pt>
                <c:pt idx="5">
                  <c:v>1239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D65-48C2-BF6A-E952280E7D86}"/>
            </c:ext>
          </c:extLst>
        </c:ser>
        <c:ser>
          <c:idx val="4"/>
          <c:order val="4"/>
          <c:spPr>
            <a:solidFill>
              <a:srgbClr val="666666"/>
            </a:solidFill>
            <a:ln w="25400">
              <a:solidFill>
                <a:schemeClr val="bg1"/>
              </a:solidFill>
            </a:ln>
          </c:spPr>
          <c:cat>
            <c:numRef>
              <c:f>Sheet1!$A$2:$A$7</c:f>
              <c:numCache>
                <c:formatCode>dd\-mm\-yy</c:formatCode>
                <c:ptCount val="6"/>
                <c:pt idx="0">
                  <c:v>39813</c:v>
                </c:pt>
                <c:pt idx="1">
                  <c:v>40178</c:v>
                </c:pt>
                <c:pt idx="2">
                  <c:v>40543</c:v>
                </c:pt>
                <c:pt idx="3">
                  <c:v>40908</c:v>
                </c:pt>
                <c:pt idx="4">
                  <c:v>41274</c:v>
                </c:pt>
                <c:pt idx="5">
                  <c:v>41456</c:v>
                </c:pt>
              </c:numCache>
            </c:numRef>
          </c:cat>
          <c:val>
            <c:numRef>
              <c:f>Sheet1!$F$2:$F$7</c:f>
              <c:numCache>
                <c:formatCode>General</c:formatCode>
                <c:ptCount val="6"/>
                <c:pt idx="0">
                  <c:v>14652</c:v>
                </c:pt>
                <c:pt idx="1">
                  <c:v>10432.1</c:v>
                </c:pt>
                <c:pt idx="2">
                  <c:v>11417.4</c:v>
                </c:pt>
                <c:pt idx="3">
                  <c:v>6655.4</c:v>
                </c:pt>
                <c:pt idx="4">
                  <c:v>20314.599999999999</c:v>
                </c:pt>
                <c:pt idx="5">
                  <c:v>3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65-48C2-BF6A-E952280E7D86}"/>
            </c:ext>
          </c:extLst>
        </c:ser>
        <c:ser>
          <c:idx val="5"/>
          <c:order val="5"/>
          <c:spPr>
            <a:solidFill>
              <a:srgbClr val="E26E23"/>
            </a:solidFill>
            <a:ln w="25400">
              <a:solidFill>
                <a:schemeClr val="bg1"/>
              </a:solidFill>
            </a:ln>
          </c:spPr>
          <c:cat>
            <c:numRef>
              <c:f>Sheet1!$A$2:$A$7</c:f>
              <c:numCache>
                <c:formatCode>dd\-mm\-yy</c:formatCode>
                <c:ptCount val="6"/>
                <c:pt idx="0">
                  <c:v>39813</c:v>
                </c:pt>
                <c:pt idx="1">
                  <c:v>40178</c:v>
                </c:pt>
                <c:pt idx="2">
                  <c:v>40543</c:v>
                </c:pt>
                <c:pt idx="3">
                  <c:v>40908</c:v>
                </c:pt>
                <c:pt idx="4">
                  <c:v>41274</c:v>
                </c:pt>
                <c:pt idx="5">
                  <c:v>41456</c:v>
                </c:pt>
              </c:numCache>
            </c:numRef>
          </c:cat>
          <c:val>
            <c:numRef>
              <c:f>Sheet1!$G$2:$G$7</c:f>
              <c:numCache>
                <c:formatCode>General</c:formatCode>
                <c:ptCount val="6"/>
                <c:pt idx="0">
                  <c:v>16498.099999999999</c:v>
                </c:pt>
                <c:pt idx="1">
                  <c:v>15027.6</c:v>
                </c:pt>
                <c:pt idx="2">
                  <c:v>12378.2</c:v>
                </c:pt>
                <c:pt idx="3">
                  <c:v>9843.4</c:v>
                </c:pt>
                <c:pt idx="4">
                  <c:v>16998.8</c:v>
                </c:pt>
                <c:pt idx="5">
                  <c:v>1339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D65-48C2-BF6A-E952280E7D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655616"/>
        <c:axId val="104680256"/>
      </c:areaChart>
      <c:dateAx>
        <c:axId val="44655616"/>
        <c:scaling>
          <c:orientation val="minMax"/>
        </c:scaling>
        <c:delete val="0"/>
        <c:axPos val="b"/>
        <c:majorGridlines>
          <c:spPr>
            <a:ln w="25400">
              <a:solidFill>
                <a:schemeClr val="bg1"/>
              </a:solidFill>
            </a:ln>
          </c:spPr>
        </c:majorGridlines>
        <c:title>
          <c:tx>
            <c:rich>
              <a:bodyPr/>
              <a:lstStyle/>
              <a:p>
                <a:pPr algn="l">
                  <a:defRPr sz="1300" b="0">
                    <a:latin typeface="Palatino Linotype" pitchFamily="18" charset="0"/>
                  </a:defRPr>
                </a:pPr>
                <a:r>
                  <a:rPr lang="fi-FI" sz="1300" dirty="0" err="1"/>
                  <a:t>Source</a:t>
                </a:r>
                <a:r>
                  <a:rPr lang="fi-FI" sz="1300" dirty="0"/>
                  <a:t>:</a:t>
                </a:r>
                <a:r>
                  <a:rPr lang="fi-FI" sz="1300" baseline="0" dirty="0"/>
                  <a:t> </a:t>
                </a:r>
                <a:r>
                  <a:rPr lang="fi-FI" sz="1300" dirty="0" err="1"/>
                  <a:t>Gartner</a:t>
                </a:r>
                <a:r>
                  <a:rPr lang="fi-FI" sz="1300" dirty="0"/>
                  <a:t>.</a:t>
                </a:r>
                <a:endParaRPr lang="en-US" sz="1300" dirty="0"/>
              </a:p>
            </c:rich>
          </c:tx>
          <c:layout>
            <c:manualLayout>
              <c:xMode val="edge"/>
              <c:yMode val="edge"/>
              <c:x val="0.1286485433604336"/>
              <c:y val="0.93216548102981034"/>
            </c:manualLayout>
          </c:layout>
          <c:overlay val="0"/>
        </c:title>
        <c:numFmt formatCode="yyyy" sourceLinked="0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txPr>
          <a:bodyPr/>
          <a:lstStyle/>
          <a:p>
            <a:pPr>
              <a:defRPr sz="1600">
                <a:latin typeface="Palatino Linotype" pitchFamily="18" charset="0"/>
              </a:defRPr>
            </a:pPr>
            <a:endParaRPr lang="fi-FI"/>
          </a:p>
        </c:txPr>
        <c:crossAx val="104680256"/>
        <c:crosses val="autoZero"/>
        <c:auto val="1"/>
        <c:lblOffset val="100"/>
        <c:baseTimeUnit val="months"/>
        <c:majorUnit val="1"/>
        <c:majorTimeUnit val="years"/>
      </c:dateAx>
      <c:valAx>
        <c:axId val="104680256"/>
        <c:scaling>
          <c:orientation val="minMax"/>
        </c:scaling>
        <c:delete val="0"/>
        <c:axPos val="l"/>
        <c:majorGridlines>
          <c:spPr>
            <a:ln w="25400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txPr>
          <a:bodyPr/>
          <a:lstStyle/>
          <a:p>
            <a:pPr>
              <a:defRPr sz="1600">
                <a:latin typeface="Palatino Linotype" pitchFamily="18" charset="0"/>
              </a:defRPr>
            </a:pPr>
            <a:endParaRPr lang="fi-FI"/>
          </a:p>
        </c:txPr>
        <c:crossAx val="44655616"/>
        <c:crosses val="autoZero"/>
        <c:crossBetween val="midCat"/>
      </c:valAx>
      <c:spPr>
        <a:ln w="25400"/>
      </c:spPr>
    </c:plotArea>
    <c:plotVisOnly val="1"/>
    <c:dispBlanksAs val="gap"/>
    <c:showDLblsOverMax val="0"/>
  </c:chart>
  <c:spPr>
    <a:solidFill>
      <a:srgbClr val="DDEAED"/>
    </a:solidFill>
    <a:ln w="25400">
      <a:solidFill>
        <a:srgbClr val="1F7385"/>
      </a:solidFill>
    </a:ln>
  </c:spPr>
  <c:txPr>
    <a:bodyPr/>
    <a:lstStyle/>
    <a:p>
      <a:pPr>
        <a:defRPr sz="1800"/>
      </a:pPr>
      <a:endParaRPr lang="fi-FI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tance to axis on the negative side if not touching (transparent)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82FD-4726-AE49-0AB2F010524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stance from axis on the negative side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-0.131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FD-4726-AE49-0AB2F010524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stance from axis on the negative side2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82FD-4726-AE49-0AB2F010524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istance to axis on the positive side if not touching (transparent)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5-82FD-4726-AE49-0AB2F010524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istance from the axis on the positive side minus the cap from the axis if not touching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5.5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2FD-4726-AE49-0AB2F010524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Distance from the axis on the positive side minus the cap from the axis if touching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7-82FD-4726-AE49-0AB2F01052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051418736"/>
        <c:axId val="1053054192"/>
      </c:barChart>
      <c:barChart>
        <c:barDir val="bar"/>
        <c:grouping val="stacke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Mean value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-6.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2FD-4726-AE49-0AB2F010524D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Mean value spacer</c:v>
                </c:pt>
              </c:strCache>
            </c:strRef>
          </c:tx>
          <c:spPr>
            <a:solidFill>
              <a:srgbClr val="FF5210"/>
            </a:solidFill>
            <a:ln w="63500" cap="sq">
              <a:solidFill>
                <a:srgbClr val="FF5210"/>
              </a:solidFill>
              <a:beve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Nokia</c:v>
                </c:pt>
              </c:strCache>
            </c:strRef>
          </c:cat>
          <c:val>
            <c:numRef>
              <c:f>Sheet1!$I$2</c:f>
              <c:numCache>
                <c:formatCode>General</c:formatCode>
                <c:ptCount val="1"/>
                <c:pt idx="0">
                  <c:v>-1.0000000000000001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2FD-4726-AE49-0AB2F01052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386333487"/>
        <c:axId val="1555716431"/>
      </c:barChart>
      <c:catAx>
        <c:axId val="1051418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053054192"/>
        <c:crosses val="autoZero"/>
        <c:auto val="1"/>
        <c:lblAlgn val="ctr"/>
        <c:lblOffset val="100"/>
        <c:tickLblSkip val="1"/>
        <c:noMultiLvlLbl val="0"/>
      </c:catAx>
      <c:valAx>
        <c:axId val="1053054192"/>
        <c:scaling>
          <c:orientation val="minMax"/>
          <c:max val="0.1"/>
          <c:min val="-0.2"/>
        </c:scaling>
        <c:delete val="0"/>
        <c:axPos val="b"/>
        <c:majorGridlines>
          <c:spPr>
            <a:ln w="9525" cap="flat" cmpd="sng" algn="ctr">
              <a:solidFill>
                <a:srgbClr val="E5F4FF"/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15875" cap="rnd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051418736"/>
        <c:crosses val="autoZero"/>
        <c:crossBetween val="between"/>
        <c:majorUnit val="5.000000000000001E-2"/>
      </c:valAx>
      <c:valAx>
        <c:axId val="1555716431"/>
        <c:scaling>
          <c:orientation val="minMax"/>
          <c:max val="0.4"/>
          <c:min val="-0.2"/>
        </c:scaling>
        <c:delete val="1"/>
        <c:axPos val="t"/>
        <c:numFmt formatCode="General" sourceLinked="1"/>
        <c:majorTickMark val="out"/>
        <c:minorTickMark val="none"/>
        <c:tickLblPos val="nextTo"/>
        <c:crossAx val="1386333487"/>
        <c:crosses val="max"/>
        <c:crossBetween val="between"/>
        <c:majorUnit val="1"/>
      </c:valAx>
      <c:catAx>
        <c:axId val="1386333487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5571643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stance to axis on the negative side if not touching (transparent)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9E8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10-4430-BB6B-F9A0CDDEF3C5}"/>
              </c:ext>
            </c:extLst>
          </c:dPt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FD-4726-AE49-0AB2F010524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stance from axis on the negative side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</c:v>
                </c:pt>
                <c:pt idx="1">
                  <c:v>-4.183999999999998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FD-4726-AE49-0AB2F010524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stance from axis on the negative side2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0</c:v>
                </c:pt>
                <c:pt idx="1">
                  <c:v>0.16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2FD-4726-AE49-0AB2F010524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istance to axis on the positive side if not touching (transparent)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0.21684000000000003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FD-4726-AE49-0AB2F010524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istance from the axis on the positive side minus the cap from the axis if not touching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0.57231999999999994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2FD-4726-AE49-0AB2F010524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Distance from the axis on the positive side minus the cap from the axis if touching</c:v>
                </c:pt>
              </c:strCache>
            </c:strRef>
          </c:tx>
          <c:spPr>
            <a:solidFill>
              <a:srgbClr val="C9E8F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0</c:v>
                </c:pt>
                <c:pt idx="1">
                  <c:v>0.2038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FD-4726-AE49-0AB2F01052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051418736"/>
        <c:axId val="1053054192"/>
      </c:barChart>
      <c:barChart>
        <c:barDir val="bar"/>
        <c:grouping val="stacke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Mean value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0.503</c:v>
                </c:pt>
                <c:pt idx="1">
                  <c:v>0.16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2FD-4726-AE49-0AB2F010524D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Mean value spacer</c:v>
                </c:pt>
              </c:strCache>
            </c:strRef>
          </c:tx>
          <c:spPr>
            <a:solidFill>
              <a:srgbClr val="FF5210"/>
            </a:solidFill>
            <a:ln w="63500" cap="sq">
              <a:solidFill>
                <a:srgbClr val="FF5210"/>
              </a:solidFill>
              <a:beve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Innovaattorit</c:v>
                </c:pt>
                <c:pt idx="1">
                  <c:v>Koko otos</c:v>
                </c:pt>
              </c:strCache>
            </c:strRef>
          </c:cat>
          <c:val>
            <c:numRef>
              <c:f>Sheet1!$I$2:$I$3</c:f>
              <c:numCache>
                <c:formatCode>General</c:formatCode>
                <c:ptCount val="2"/>
                <c:pt idx="0">
                  <c:v>1.0000000000000001E-5</c:v>
                </c:pt>
                <c:pt idx="1">
                  <c:v>1.0000000000000001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2FD-4726-AE49-0AB2F01052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386333487"/>
        <c:axId val="1555716431"/>
      </c:barChart>
      <c:catAx>
        <c:axId val="1051418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053054192"/>
        <c:crosses val="autoZero"/>
        <c:auto val="1"/>
        <c:lblAlgn val="ctr"/>
        <c:lblOffset val="100"/>
        <c:tickLblSkip val="1"/>
        <c:noMultiLvlLbl val="0"/>
      </c:catAx>
      <c:valAx>
        <c:axId val="10530541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E5F4FF"/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15875" cap="rnd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LID4096"/>
          </a:p>
        </c:txPr>
        <c:crossAx val="1051418736"/>
        <c:crosses val="autoZero"/>
        <c:crossBetween val="between"/>
        <c:majorUnit val="0.2"/>
      </c:valAx>
      <c:valAx>
        <c:axId val="1555716431"/>
        <c:scaling>
          <c:orientation val="minMax"/>
          <c:max val="0.4"/>
          <c:min val="-0.2"/>
        </c:scaling>
        <c:delete val="1"/>
        <c:axPos val="t"/>
        <c:numFmt formatCode="General" sourceLinked="1"/>
        <c:majorTickMark val="out"/>
        <c:minorTickMark val="none"/>
        <c:tickLblPos val="nextTo"/>
        <c:crossAx val="1386333487"/>
        <c:crosses val="max"/>
        <c:crossBetween val="between"/>
        <c:majorUnit val="1"/>
      </c:valAx>
      <c:catAx>
        <c:axId val="1386333487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5571643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LID4096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adcount</c:v>
                </c:pt>
              </c:strCache>
            </c:strRef>
          </c:tx>
          <c:spPr>
            <a:solidFill>
              <a:srgbClr val="5DC0CF"/>
            </a:solidFill>
            <a:ln>
              <a:noFill/>
            </a:ln>
            <a:effectLst/>
          </c:spPr>
          <c:invertIfNegative val="0"/>
          <c:dPt>
            <c:idx val="18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A99-4222-94E6-EB572A20F274}"/>
              </c:ext>
            </c:extLst>
          </c:dPt>
          <c:dPt>
            <c:idx val="19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A99-4222-94E6-EB572A20F274}"/>
              </c:ext>
            </c:extLst>
          </c:dPt>
          <c:dPt>
            <c:idx val="2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A99-4222-94E6-EB572A20F274}"/>
              </c:ext>
            </c:extLst>
          </c:dPt>
          <c:dPt>
            <c:idx val="21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A99-4222-94E6-EB572A20F274}"/>
              </c:ext>
            </c:extLst>
          </c:dPt>
          <c:dPt>
            <c:idx val="22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A99-4222-94E6-EB572A20F274}"/>
              </c:ext>
            </c:extLst>
          </c:dPt>
          <c:dPt>
            <c:idx val="23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6A99-4222-94E6-EB572A20F274}"/>
              </c:ext>
            </c:extLst>
          </c:dPt>
          <c:dPt>
            <c:idx val="24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6A99-4222-94E6-EB572A20F274}"/>
              </c:ext>
            </c:extLst>
          </c:dPt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6</c:f>
              <c:numCache>
                <c:formatCode>General</c:formatCode>
                <c:ptCount val="3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</c:numCache>
            </c:numRef>
          </c:cat>
          <c:val>
            <c:numRef>
              <c:f>Sheet1!$B$2:$B$36</c:f>
              <c:numCache>
                <c:formatCode>General</c:formatCode>
                <c:ptCount val="35"/>
                <c:pt idx="0">
                  <c:v>18096</c:v>
                </c:pt>
                <c:pt idx="1">
                  <c:v>14588</c:v>
                </c:pt>
                <c:pt idx="2">
                  <c:v>13752</c:v>
                </c:pt>
                <c:pt idx="3">
                  <c:v>13813</c:v>
                </c:pt>
                <c:pt idx="4">
                  <c:v>14984</c:v>
                </c:pt>
                <c:pt idx="5">
                  <c:v>17821</c:v>
                </c:pt>
                <c:pt idx="6">
                  <c:v>17866</c:v>
                </c:pt>
                <c:pt idx="7">
                  <c:v>19342</c:v>
                </c:pt>
                <c:pt idx="8">
                  <c:v>21093</c:v>
                </c:pt>
                <c:pt idx="9">
                  <c:v>23267</c:v>
                </c:pt>
                <c:pt idx="10">
                  <c:v>24379</c:v>
                </c:pt>
                <c:pt idx="11">
                  <c:v>22246</c:v>
                </c:pt>
                <c:pt idx="12">
                  <c:v>22535</c:v>
                </c:pt>
                <c:pt idx="13">
                  <c:v>22274</c:v>
                </c:pt>
                <c:pt idx="14">
                  <c:v>23070</c:v>
                </c:pt>
                <c:pt idx="15">
                  <c:v>23485</c:v>
                </c:pt>
                <c:pt idx="16">
                  <c:v>23894</c:v>
                </c:pt>
                <c:pt idx="17">
                  <c:v>23015</c:v>
                </c:pt>
                <c:pt idx="18">
                  <c:v>23320</c:v>
                </c:pt>
                <c:pt idx="19">
                  <c:v>21559</c:v>
                </c:pt>
                <c:pt idx="20">
                  <c:v>19800</c:v>
                </c:pt>
                <c:pt idx="21">
                  <c:v>16970</c:v>
                </c:pt>
                <c:pt idx="22">
                  <c:v>11700</c:v>
                </c:pt>
                <c:pt idx="23">
                  <c:v>10600</c:v>
                </c:pt>
                <c:pt idx="24">
                  <c:v>6800</c:v>
                </c:pt>
                <c:pt idx="25">
                  <c:v>6850</c:v>
                </c:pt>
                <c:pt idx="26">
                  <c:v>6124</c:v>
                </c:pt>
                <c:pt idx="27">
                  <c:v>6317</c:v>
                </c:pt>
                <c:pt idx="28">
                  <c:v>6159</c:v>
                </c:pt>
                <c:pt idx="29">
                  <c:v>5992</c:v>
                </c:pt>
                <c:pt idx="30">
                  <c:v>6038</c:v>
                </c:pt>
                <c:pt idx="31">
                  <c:v>5995</c:v>
                </c:pt>
                <c:pt idx="32">
                  <c:v>6814</c:v>
                </c:pt>
                <c:pt idx="33">
                  <c:v>7185</c:v>
                </c:pt>
                <c:pt idx="34">
                  <c:v>6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A99-4222-94E6-EB572A20F2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725010127"/>
        <c:axId val="1725011567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of manuf empl</c:v>
                </c:pt>
              </c:strCache>
            </c:strRef>
          </c:tx>
          <c:spPr>
            <a:ln w="3810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6</c:f>
              <c:numCache>
                <c:formatCode>General</c:formatCode>
                <c:ptCount val="35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</c:numCache>
            </c:numRef>
          </c:cat>
          <c:val>
            <c:numRef>
              <c:f>Sheet1!$C$2:$C$36</c:f>
              <c:numCache>
                <c:formatCode>General</c:formatCode>
                <c:ptCount val="35"/>
                <c:pt idx="0">
                  <c:v>3.7747183979974968</c:v>
                </c:pt>
                <c:pt idx="1">
                  <c:v>3.3374513841226263</c:v>
                </c:pt>
                <c:pt idx="2">
                  <c:v>3.4868154158215008</c:v>
                </c:pt>
                <c:pt idx="3">
                  <c:v>3.7161689534570894</c:v>
                </c:pt>
                <c:pt idx="4">
                  <c:v>3.975590342265853</c:v>
                </c:pt>
                <c:pt idx="5">
                  <c:v>4.5070814365199796</c:v>
                </c:pt>
                <c:pt idx="6">
                  <c:v>4.4912016088486677</c:v>
                </c:pt>
                <c:pt idx="7">
                  <c:v>4.7003645200486028</c:v>
                </c:pt>
                <c:pt idx="8">
                  <c:v>4.9771118452100049</c:v>
                </c:pt>
                <c:pt idx="9">
                  <c:v>5.3883742473367304</c:v>
                </c:pt>
                <c:pt idx="10">
                  <c:v>5.538164470695139</c:v>
                </c:pt>
                <c:pt idx="11">
                  <c:v>5.0103603603603597</c:v>
                </c:pt>
                <c:pt idx="12">
                  <c:v>5.1840349666436625</c:v>
                </c:pt>
                <c:pt idx="13">
                  <c:v>5.2694582446179323</c:v>
                </c:pt>
                <c:pt idx="14">
                  <c:v>5.6022340942204956</c:v>
                </c:pt>
                <c:pt idx="15">
                  <c:v>5.691953465826467</c:v>
                </c:pt>
                <c:pt idx="16">
                  <c:v>5.7478951166706764</c:v>
                </c:pt>
                <c:pt idx="17">
                  <c:v>5.4732461355529134</c:v>
                </c:pt>
                <c:pt idx="18">
                  <c:v>5.4703260614590663</c:v>
                </c:pt>
                <c:pt idx="19">
                  <c:v>5.6201772679874873</c:v>
                </c:pt>
                <c:pt idx="20">
                  <c:v>5.4113145668215363</c:v>
                </c:pt>
                <c:pt idx="21">
                  <c:v>4.5864864864864865</c:v>
                </c:pt>
                <c:pt idx="22">
                  <c:v>3.1923494302767224</c:v>
                </c:pt>
                <c:pt idx="23">
                  <c:v>3.122006198929276</c:v>
                </c:pt>
                <c:pt idx="24">
                  <c:v>1.9704433497536946</c:v>
                </c:pt>
                <c:pt idx="25">
                  <c:v>2.0152986172403646</c:v>
                </c:pt>
                <c:pt idx="26">
                  <c:v>1.8209931608682723</c:v>
                </c:pt>
                <c:pt idx="27">
                  <c:v>1.8767082590612001</c:v>
                </c:pt>
                <c:pt idx="28">
                  <c:v>1.799298860648554</c:v>
                </c:pt>
                <c:pt idx="29">
                  <c:v>1.7449039021549213</c:v>
                </c:pt>
                <c:pt idx="30">
                  <c:v>1.7906287069988136</c:v>
                </c:pt>
                <c:pt idx="31">
                  <c:v>1.7736686390532546</c:v>
                </c:pt>
                <c:pt idx="32">
                  <c:v>1.9676580999133699</c:v>
                </c:pt>
                <c:pt idx="33">
                  <c:v>2.06881658508494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6A99-4222-94E6-EB572A20F2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72968944"/>
        <c:axId val="1572970864"/>
      </c:line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tickLblSkip val="5"/>
        <c:noMultiLvlLbl val="0"/>
      </c:catAx>
      <c:valAx>
        <c:axId val="1572970864"/>
        <c:scaling>
          <c:orientation val="minMax"/>
          <c:max val="12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68944"/>
        <c:crosses val="autoZero"/>
        <c:crossBetween val="between"/>
      </c:valAx>
      <c:valAx>
        <c:axId val="1725011567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725010127"/>
        <c:crosses val="max"/>
        <c:crossBetween val="between"/>
      </c:valAx>
      <c:catAx>
        <c:axId val="172501012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72501156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5DC0CF"/>
            </a:solidFill>
            <a:ln>
              <a:noFill/>
            </a:ln>
            <a:effectLst/>
          </c:spPr>
          <c:invertIfNegative val="0"/>
          <c:dPt>
            <c:idx val="18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AB-4592-A0D9-AA3BA930702B}"/>
              </c:ext>
            </c:extLst>
          </c:dPt>
          <c:dPt>
            <c:idx val="19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AB-4592-A0D9-AA3BA930702B}"/>
              </c:ext>
            </c:extLst>
          </c:dPt>
          <c:dPt>
            <c:idx val="2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AB-4592-A0D9-AA3BA930702B}"/>
              </c:ext>
            </c:extLst>
          </c:dPt>
          <c:dPt>
            <c:idx val="21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AB-4592-A0D9-AA3BA930702B}"/>
              </c:ext>
            </c:extLst>
          </c:dPt>
          <c:dPt>
            <c:idx val="22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6AB-4592-A0D9-AA3BA930702B}"/>
              </c:ext>
            </c:extLst>
          </c:dPt>
          <c:dPt>
            <c:idx val="23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AB-4592-A0D9-AA3BA930702B}"/>
              </c:ext>
            </c:extLst>
          </c:dPt>
          <c:dPt>
            <c:idx val="24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6AB-4592-A0D9-AA3BA930702B}"/>
              </c:ext>
            </c:extLst>
          </c:dPt>
          <c:dLbls>
            <c:dLbl>
              <c:idx val="10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36AB-4592-A0D9-AA3BA930702B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3</c:f>
              <c:numCache>
                <c:formatCode>General</c:formatCode>
                <c:ptCount val="32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</c:numCache>
            </c:numRef>
          </c:cat>
          <c:val>
            <c:numRef>
              <c:f>Sheet1!$B$2:$B$33</c:f>
              <c:numCache>
                <c:formatCode>General</c:formatCode>
                <c:ptCount val="32"/>
                <c:pt idx="0">
                  <c:v>0.48373664026552166</c:v>
                </c:pt>
                <c:pt idx="1">
                  <c:v>0.27000948741010716</c:v>
                </c:pt>
                <c:pt idx="2">
                  <c:v>0.44127626342745979</c:v>
                </c:pt>
                <c:pt idx="3">
                  <c:v>0.6436689323607685</c:v>
                </c:pt>
                <c:pt idx="4">
                  <c:v>0.78587257640534613</c:v>
                </c:pt>
                <c:pt idx="5">
                  <c:v>1.0930065002991218</c:v>
                </c:pt>
                <c:pt idx="6">
                  <c:v>1.1792038503582691</c:v>
                </c:pt>
                <c:pt idx="7">
                  <c:v>1.7060187838802823</c:v>
                </c:pt>
                <c:pt idx="8">
                  <c:v>2.4220031010738068</c:v>
                </c:pt>
                <c:pt idx="9">
                  <c:v>2.9967917556313668</c:v>
                </c:pt>
                <c:pt idx="10">
                  <c:v>3.8442342269614933</c:v>
                </c:pt>
                <c:pt idx="11">
                  <c:v>3.1511884074025351</c:v>
                </c:pt>
                <c:pt idx="12">
                  <c:v>3.5119988670771272</c:v>
                </c:pt>
                <c:pt idx="13">
                  <c:v>3.6867288165785883</c:v>
                </c:pt>
                <c:pt idx="14">
                  <c:v>2.8510149737816848</c:v>
                </c:pt>
                <c:pt idx="15">
                  <c:v>2.764700371683892</c:v>
                </c:pt>
                <c:pt idx="16">
                  <c:v>2.9387365011445405</c:v>
                </c:pt>
                <c:pt idx="17">
                  <c:v>3.1245980362732064</c:v>
                </c:pt>
                <c:pt idx="18">
                  <c:v>2.5042202043249997</c:v>
                </c:pt>
                <c:pt idx="19">
                  <c:v>1.1758138198852117</c:v>
                </c:pt>
                <c:pt idx="20">
                  <c:v>1.1619828968466059</c:v>
                </c:pt>
                <c:pt idx="21">
                  <c:v>0.47391412563684476</c:v>
                </c:pt>
                <c:pt idx="22">
                  <c:v>-0.11231524627989971</c:v>
                </c:pt>
                <c:pt idx="23">
                  <c:v>0.35960755106276038</c:v>
                </c:pt>
                <c:pt idx="24">
                  <c:v>0.85043239644431901</c:v>
                </c:pt>
                <c:pt idx="25">
                  <c:v>0.98378594783019357</c:v>
                </c:pt>
                <c:pt idx="26">
                  <c:v>0.69211663651086741</c:v>
                </c:pt>
                <c:pt idx="27">
                  <c:v>0.83671590015753916</c:v>
                </c:pt>
                <c:pt idx="28">
                  <c:v>0.88338119790641745</c:v>
                </c:pt>
                <c:pt idx="29">
                  <c:v>0.19058425696173875</c:v>
                </c:pt>
                <c:pt idx="30">
                  <c:v>0.68320169890899241</c:v>
                </c:pt>
                <c:pt idx="31">
                  <c:v>0.72438134135164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6AB-4592-A0D9-AA3BA9307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tickLblSkip val="5"/>
        <c:noMultiLvlLbl val="0"/>
      </c:catAx>
      <c:valAx>
        <c:axId val="1572970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5DC0CF"/>
            </a:solidFill>
            <a:ln>
              <a:noFill/>
            </a:ln>
            <a:effectLst/>
          </c:spPr>
          <c:invertIfNegative val="0"/>
          <c:dPt>
            <c:idx val="18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B4-4ED0-9E15-586D3CCED2B9}"/>
              </c:ext>
            </c:extLst>
          </c:dPt>
          <c:dPt>
            <c:idx val="19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B4-4ED0-9E15-586D3CCED2B9}"/>
              </c:ext>
            </c:extLst>
          </c:dPt>
          <c:dPt>
            <c:idx val="20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B4-4ED0-9E15-586D3CCED2B9}"/>
              </c:ext>
            </c:extLst>
          </c:dPt>
          <c:dPt>
            <c:idx val="21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9B4-4ED0-9E15-586D3CCED2B9}"/>
              </c:ext>
            </c:extLst>
          </c:dPt>
          <c:dPt>
            <c:idx val="22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9B4-4ED0-9E15-586D3CCED2B9}"/>
              </c:ext>
            </c:extLst>
          </c:dPt>
          <c:dPt>
            <c:idx val="23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9B4-4ED0-9E15-586D3CCED2B9}"/>
              </c:ext>
            </c:extLst>
          </c:dPt>
          <c:dPt>
            <c:idx val="24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9B4-4ED0-9E15-586D3CCED2B9}"/>
              </c:ext>
            </c:extLst>
          </c:dPt>
          <c:dLbls>
            <c:dLbl>
              <c:idx val="19"/>
              <c:numFmt formatCode="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521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9B4-4ED0-9E15-586D3CCED2B9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strCache>
            </c:strRef>
          </c:cat>
          <c:val>
            <c:numRef>
              <c:f>Sheet1!$B$2:$B$31</c:f>
              <c:numCache>
                <c:formatCode>General</c:formatCode>
                <c:ptCount val="30"/>
                <c:pt idx="0">
                  <c:v>15.893480806514832</c:v>
                </c:pt>
                <c:pt idx="1">
                  <c:v>13.280482129554716</c:v>
                </c:pt>
                <c:pt idx="2">
                  <c:v>15.51583543209151</c:v>
                </c:pt>
                <c:pt idx="3">
                  <c:v>18.417413900150873</c:v>
                </c:pt>
                <c:pt idx="4">
                  <c:v>19.432108734234998</c:v>
                </c:pt>
                <c:pt idx="5">
                  <c:v>22.936674137051565</c:v>
                </c:pt>
                <c:pt idx="6">
                  <c:v>28.540101523633105</c:v>
                </c:pt>
                <c:pt idx="7">
                  <c:v>32.410803601888148</c:v>
                </c:pt>
                <c:pt idx="8">
                  <c:v>38.287817478368567</c:v>
                </c:pt>
                <c:pt idx="9">
                  <c:v>42.51168885642015</c:v>
                </c:pt>
                <c:pt idx="10">
                  <c:v>45.352301167901921</c:v>
                </c:pt>
                <c:pt idx="11">
                  <c:v>42.720751957117493</c:v>
                </c:pt>
                <c:pt idx="12">
                  <c:v>42.500555274833019</c:v>
                </c:pt>
                <c:pt idx="13">
                  <c:v>45.828625657114124</c:v>
                </c:pt>
                <c:pt idx="14">
                  <c:v>45.609188959075993</c:v>
                </c:pt>
                <c:pt idx="15">
                  <c:v>47.409012355232271</c:v>
                </c:pt>
                <c:pt idx="16">
                  <c:v>46.91927680477891</c:v>
                </c:pt>
                <c:pt idx="17">
                  <c:v>46.161133244680883</c:v>
                </c:pt>
                <c:pt idx="18">
                  <c:v>49.725758726676119</c:v>
                </c:pt>
                <c:pt idx="19">
                  <c:v>51.931416184804149</c:v>
                </c:pt>
                <c:pt idx="20">
                  <c:v>47.379081888151177</c:v>
                </c:pt>
                <c:pt idx="21">
                  <c:v>43.804489015088258</c:v>
                </c:pt>
                <c:pt idx="22">
                  <c:v>33.939722051378432</c:v>
                </c:pt>
                <c:pt idx="23">
                  <c:v>32.6046845124283</c:v>
                </c:pt>
                <c:pt idx="24">
                  <c:v>21.673341648713006</c:v>
                </c:pt>
                <c:pt idx="25">
                  <c:v>21.119561188940775</c:v>
                </c:pt>
                <c:pt idx="26">
                  <c:v>22.349232385883077</c:v>
                </c:pt>
                <c:pt idx="27">
                  <c:v>22.540525780105749</c:v>
                </c:pt>
                <c:pt idx="28">
                  <c:v>21.686981128045211</c:v>
                </c:pt>
                <c:pt idx="29">
                  <c:v>20.696857345340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9B4-4ED0-9E15-586D3CCED2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tickLblSkip val="5"/>
        <c:noMultiLvlLbl val="0"/>
      </c:catAx>
      <c:valAx>
        <c:axId val="1572970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4373193979118E-2"/>
          <c:y val="3.7032605459156244E-2"/>
          <c:w val="0.97413125361204178"/>
          <c:h val="0.846633090664199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007BA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2</a:t>
                    </a:r>
                    <a:r>
                      <a:rPr lang="en-US" baseline="0" dirty="0"/>
                      <a:t> </a:t>
                    </a:r>
                    <a:r>
                      <a:rPr lang="en-US" dirty="0"/>
                      <a:t>344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CAF-4140-8608-87E838E88C52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Kaikki</c:v>
                </c:pt>
                <c:pt idx="1">
                  <c:v>Startup-yrittäjät</c:v>
                </c:pt>
                <c:pt idx="2">
                  <c:v>Muut yrittäjät</c:v>
                </c:pt>
                <c:pt idx="3">
                  <c:v>Ammatinharj.</c:v>
                </c:pt>
                <c:pt idx="4">
                  <c:v>Bisnesenkeli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23.44</c:v>
                </c:pt>
                <c:pt idx="1">
                  <c:v>530</c:v>
                </c:pt>
                <c:pt idx="2">
                  <c:v>116</c:v>
                </c:pt>
                <c:pt idx="3">
                  <c:v>513</c:v>
                </c:pt>
                <c:pt idx="4">
                  <c:v>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AF-4140-8608-87E838E88C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rok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4 00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6CAF-4140-8608-87E838E88C52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Kaikki</c:v>
                </c:pt>
                <c:pt idx="1">
                  <c:v>Startup-yrittäjät</c:v>
                </c:pt>
                <c:pt idx="2">
                  <c:v>Muut yrittäjät</c:v>
                </c:pt>
                <c:pt idx="3">
                  <c:v>Ammatinharj.</c:v>
                </c:pt>
                <c:pt idx="4">
                  <c:v>Bisnesenkeli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40.06</c:v>
                </c:pt>
                <c:pt idx="1">
                  <c:v>256</c:v>
                </c:pt>
                <c:pt idx="2">
                  <c:v>76</c:v>
                </c:pt>
                <c:pt idx="3">
                  <c:v>400</c:v>
                </c:pt>
                <c:pt idx="4">
                  <c:v>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AF-4140-8608-87E838E88C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5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noMultiLvlLbl val="0"/>
      </c:catAx>
      <c:valAx>
        <c:axId val="1572970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1147305752472207"/>
          <c:y val="1.9034505912187479E-2"/>
          <c:w val="0.17705388495055588"/>
          <c:h val="6.13375712170293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746411861785683E-2"/>
          <c:y val="0.11602114283219489"/>
          <c:w val="0.97250717627642869"/>
          <c:h val="0.785728389818735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007BA3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A2C-4A3E-B73F-3FB73118436E}"/>
                </c:ext>
              </c:extLst>
            </c:dLbl>
            <c:dLbl>
              <c:idx val="1"/>
              <c:numFmt formatCode="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A2C-4A3E-B73F-3FB73118436E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Kaikki</c:v>
                </c:pt>
                <c:pt idx="1">
                  <c:v>Startup-yrittäjät</c:v>
                </c:pt>
                <c:pt idx="2">
                  <c:v>Muut yrittäjät</c:v>
                </c:pt>
                <c:pt idx="3">
                  <c:v>Ammatinharj.</c:v>
                </c:pt>
                <c:pt idx="4">
                  <c:v>Bisnesenkeli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</c:v>
                </c:pt>
                <c:pt idx="1">
                  <c:v>2.3720014321518081</c:v>
                </c:pt>
                <c:pt idx="2">
                  <c:v>0.51915503043322597</c:v>
                </c:pt>
                <c:pt idx="3">
                  <c:v>2.295918367346939</c:v>
                </c:pt>
                <c:pt idx="4">
                  <c:v>3.0836018617973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2C-4A3E-B73F-3FB7311843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rok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A2C-4A3E-B73F-3FB73118436E}"/>
                </c:ext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Kaikki</c:v>
                </c:pt>
                <c:pt idx="1">
                  <c:v>Startup-yrittäjät</c:v>
                </c:pt>
                <c:pt idx="2">
                  <c:v>Muut yrittäjät</c:v>
                </c:pt>
                <c:pt idx="3">
                  <c:v>Ammatinharj.</c:v>
                </c:pt>
                <c:pt idx="4">
                  <c:v>Bisnesenkelit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</c:v>
                </c:pt>
                <c:pt idx="1">
                  <c:v>1.066400066650004</c:v>
                </c:pt>
                <c:pt idx="2">
                  <c:v>0.31658751978672001</c:v>
                </c:pt>
                <c:pt idx="3">
                  <c:v>1.6662501041406315</c:v>
                </c:pt>
                <c:pt idx="4">
                  <c:v>1.9078563692410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2C-4A3E-B73F-3FB731184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5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noMultiLvlLbl val="0"/>
      </c:catAx>
      <c:valAx>
        <c:axId val="1572970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115664256123725"/>
          <c:y val="1.8902334959297964E-2"/>
          <c:w val="0.17686705628617305"/>
          <c:h val="9.55659388854270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4373193979118E-2"/>
          <c:y val="0.10048095849978118"/>
          <c:w val="0.97413125361204178"/>
          <c:h val="0.783184737623574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007BA3"/>
            </a:solidFill>
            <a:ln>
              <a:noFill/>
            </a:ln>
            <a:effectLst/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tartup-yrittäjät</c:v>
                </c:pt>
                <c:pt idx="1">
                  <c:v>Muut yrittäjät</c:v>
                </c:pt>
                <c:pt idx="2">
                  <c:v>Ammatinharj.</c:v>
                </c:pt>
                <c:pt idx="3">
                  <c:v>Bisnesenkeli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9.900000000000006</c:v>
                </c:pt>
                <c:pt idx="1">
                  <c:v>86.7</c:v>
                </c:pt>
                <c:pt idx="2">
                  <c:v>70</c:v>
                </c:pt>
                <c:pt idx="3">
                  <c:v>6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AF-4140-8608-87E838E88C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rok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tartup-yrittäjät</c:v>
                </c:pt>
                <c:pt idx="1">
                  <c:v>Muut yrittäjät</c:v>
                </c:pt>
                <c:pt idx="2">
                  <c:v>Ammatinharj.</c:v>
                </c:pt>
                <c:pt idx="3">
                  <c:v>Bisnesenkelit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87.9</c:v>
                </c:pt>
                <c:pt idx="1">
                  <c:v>91.9</c:v>
                </c:pt>
                <c:pt idx="2">
                  <c:v>69.3</c:v>
                </c:pt>
                <c:pt idx="3">
                  <c:v>6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AF-4140-8608-87E838E88C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5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noMultiLvlLbl val="0"/>
      </c:catAx>
      <c:valAx>
        <c:axId val="15729708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1147305752472207"/>
          <c:y val="1.9034505912187479E-2"/>
          <c:w val="0.17705388495055588"/>
          <c:h val="6.13375712170293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4373193979118E-2"/>
          <c:y val="0.10048095849978118"/>
          <c:w val="0.97413125361204178"/>
          <c:h val="0.783184737623574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007BA3"/>
            </a:solidFill>
            <a:ln>
              <a:noFill/>
            </a:ln>
            <a:effectLst/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tartup-yrittäjät</c:v>
                </c:pt>
                <c:pt idx="1">
                  <c:v>Muut yrittäjät</c:v>
                </c:pt>
                <c:pt idx="2">
                  <c:v>Ammatinharj.</c:v>
                </c:pt>
                <c:pt idx="3">
                  <c:v>Bisnesenkeli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-5.2</c:v>
                </c:pt>
                <c:pt idx="2">
                  <c:v>23</c:v>
                </c:pt>
                <c:pt idx="3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AF-4140-8608-87E838E88C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rok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tartup-yrittäjät</c:v>
                </c:pt>
                <c:pt idx="1">
                  <c:v>Muut yrittäjät</c:v>
                </c:pt>
                <c:pt idx="2">
                  <c:v>Ammatinharj.</c:v>
                </c:pt>
                <c:pt idx="3">
                  <c:v>Bisnesenkelit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.799999999999997</c:v>
                </c:pt>
                <c:pt idx="1">
                  <c:v>18.600000000000001</c:v>
                </c:pt>
                <c:pt idx="2">
                  <c:v>7</c:v>
                </c:pt>
                <c:pt idx="3">
                  <c:v>1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AF-4140-8608-87E838E88C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5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noMultiLvlLbl val="0"/>
      </c:catAx>
      <c:valAx>
        <c:axId val="1572970864"/>
        <c:scaling>
          <c:orientation val="minMax"/>
          <c:max val="45"/>
          <c:min val="-10"/>
        </c:scaling>
        <c:delete val="1"/>
        <c:axPos val="l"/>
        <c:numFmt formatCode="General" sourceLinked="1"/>
        <c:majorTickMark val="out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1147305752472207"/>
          <c:y val="1.9034505912187479E-2"/>
          <c:w val="0.17705388495055588"/>
          <c:h val="6.13375712170293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4373193979118E-2"/>
          <c:y val="0.10048095849978118"/>
          <c:w val="0.97413125361204178"/>
          <c:h val="0.783184737623574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007BA3"/>
            </a:solidFill>
            <a:ln>
              <a:noFill/>
            </a:ln>
            <a:effectLst/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tartup-yrittäjät</c:v>
                </c:pt>
                <c:pt idx="1">
                  <c:v>Muut yrittäjät</c:v>
                </c:pt>
                <c:pt idx="2">
                  <c:v>Ammatinharj.</c:v>
                </c:pt>
                <c:pt idx="3">
                  <c:v>Bisnesenkelit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3.1</c:v>
                </c:pt>
                <c:pt idx="1">
                  <c:v>-13.9</c:v>
                </c:pt>
                <c:pt idx="2">
                  <c:v>31.4</c:v>
                </c:pt>
                <c:pt idx="3">
                  <c:v>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AF-4140-8608-87E838E88C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errok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tartup-yrittäjät</c:v>
                </c:pt>
                <c:pt idx="1">
                  <c:v>Muut yrittäjät</c:v>
                </c:pt>
                <c:pt idx="2">
                  <c:v>Ammatinharj.</c:v>
                </c:pt>
                <c:pt idx="3">
                  <c:v>Bisnesenkelit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5.5</c:v>
                </c:pt>
                <c:pt idx="1">
                  <c:v>16.2</c:v>
                </c:pt>
                <c:pt idx="2">
                  <c:v>32.6</c:v>
                </c:pt>
                <c:pt idx="3">
                  <c:v>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CAF-4140-8608-87E838E88C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5"/>
        <c:axId val="1572968944"/>
        <c:axId val="1572970864"/>
      </c:barChart>
      <c:catAx>
        <c:axId val="1572968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15875" cap="rnd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572970864"/>
        <c:crosses val="autoZero"/>
        <c:auto val="1"/>
        <c:lblAlgn val="ctr"/>
        <c:lblOffset val="100"/>
        <c:noMultiLvlLbl val="0"/>
      </c:catAx>
      <c:valAx>
        <c:axId val="1572970864"/>
        <c:scaling>
          <c:orientation val="minMax"/>
          <c:max val="65"/>
          <c:min val="-20"/>
        </c:scaling>
        <c:delete val="1"/>
        <c:axPos val="l"/>
        <c:numFmt formatCode="General" sourceLinked="1"/>
        <c:majorTickMark val="out"/>
        <c:minorTickMark val="none"/>
        <c:tickLblPos val="nextTo"/>
        <c:crossAx val="157296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1147305752472207"/>
          <c:y val="1.9034505912187479E-2"/>
          <c:w val="0.17705388495055588"/>
          <c:h val="6.13375712170293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873</cdr:x>
      <cdr:y>0.84512</cdr:y>
    </cdr:from>
    <cdr:to>
      <cdr:x>0.20361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7704" y="5760312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1948</cdr:x>
      <cdr:y>0.84512</cdr:y>
    </cdr:from>
    <cdr:to>
      <cdr:x>0.37436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295816" y="532826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ID4096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BB79F3-A8CB-4705-947E-C481E9F314B3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ID4096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ID4096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2F1864-8826-4CB3-9926-2BD43E26762B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716292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2F1864-8826-4CB3-9926-2BD43E26762B}" type="slidenum">
              <a:rPr lang="LID4096" smtClean="0"/>
              <a:t>2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477006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4164CD-6D04-4C18-D039-84E3F37C1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AA1CB3-9AB1-0B4D-E411-91570960E3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5B2928-DAD1-49FD-A02F-7C0EF3353C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DA659-95BD-40AE-5187-76122C2D55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2F1864-8826-4CB3-9926-2BD43E26762B}" type="slidenum">
              <a:rPr lang="LID4096" smtClean="0"/>
              <a:t>35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50798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30343B-D93D-F746-57F3-86D178BB9A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BA6F073-9E0D-8D11-53B1-BB7F8C2A68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2F2D71-053A-E209-8E61-39E8E89210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27B614-587B-F007-2E1E-3089BBED5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2F1864-8826-4CB3-9926-2BD43E26762B}" type="slidenum">
              <a:rPr lang="LID4096" smtClean="0"/>
              <a:t>4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56005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Google Android </a:t>
            </a:r>
            <a:r>
              <a:rPr lang="fi-FI" dirty="0" err="1"/>
              <a:t>announced</a:t>
            </a:r>
            <a:r>
              <a:rPr lang="fi-FI" dirty="0"/>
              <a:t> in </a:t>
            </a:r>
            <a:r>
              <a:rPr lang="fi-FI" dirty="0" err="1"/>
              <a:t>Nov</a:t>
            </a:r>
            <a:r>
              <a:rPr lang="fi-FI" dirty="0"/>
              <a:t>. 2007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 err="1"/>
              <a:t>Irony</a:t>
            </a:r>
            <a:r>
              <a:rPr lang="fi-FI" dirty="0"/>
              <a:t>: </a:t>
            </a:r>
            <a:r>
              <a:rPr lang="fi-FI" dirty="0" err="1"/>
              <a:t>Nokia’s</a:t>
            </a:r>
            <a:r>
              <a:rPr lang="fi-FI" dirty="0"/>
              <a:t> </a:t>
            </a:r>
            <a:r>
              <a:rPr lang="fi-FI" dirty="0" err="1"/>
              <a:t>highest</a:t>
            </a:r>
            <a:r>
              <a:rPr lang="fi-FI" dirty="0"/>
              <a:t> </a:t>
            </a:r>
            <a:r>
              <a:rPr lang="fi-FI" dirty="0" err="1"/>
              <a:t>corporate</a:t>
            </a:r>
            <a:r>
              <a:rPr lang="fi-FI" dirty="0"/>
              <a:t> </a:t>
            </a:r>
            <a:r>
              <a:rPr lang="fi-FI" dirty="0" err="1"/>
              <a:t>profits</a:t>
            </a:r>
            <a:r>
              <a:rPr lang="fi-FI" dirty="0"/>
              <a:t> in 2007 (EBIT, m€) in 159 </a:t>
            </a:r>
            <a:r>
              <a:rPr lang="fi-FI" dirty="0" err="1"/>
              <a:t>year</a:t>
            </a:r>
            <a:r>
              <a:rPr lang="fi-FI" dirty="0"/>
              <a:t> </a:t>
            </a:r>
            <a:r>
              <a:rPr lang="fi-FI" dirty="0" err="1"/>
              <a:t>history</a:t>
            </a:r>
            <a:r>
              <a:rPr lang="fi-FI" dirty="0"/>
              <a:t> (</a:t>
            </a:r>
            <a:r>
              <a:rPr lang="fi-FI" dirty="0" err="1"/>
              <a:t>established</a:t>
            </a:r>
            <a:r>
              <a:rPr lang="fi-FI" dirty="0"/>
              <a:t> in 1865)</a:t>
            </a:r>
          </a:p>
          <a:p>
            <a:endParaRPr lang="fi-FI" dirty="0"/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64B424-B443-4C84-B004-B9F85B24F1BE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065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F59CBD-F41F-4384-BEFC-DF340D151CDC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4929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Talouselämä elokuu 2024:</a:t>
            </a:r>
          </a:p>
          <a:p>
            <a:r>
              <a:rPr lang="fi-FI" dirty="0"/>
              <a:t>...</a:t>
            </a:r>
          </a:p>
          <a:p>
            <a:r>
              <a:rPr lang="fi-FI" dirty="0"/>
              <a:t>123 / S-ryhmä, Posti, OP-ryhmä</a:t>
            </a:r>
          </a:p>
          <a:p>
            <a:r>
              <a:rPr lang="fi-FI" dirty="0"/>
              <a:t>...</a:t>
            </a:r>
          </a:p>
          <a:p>
            <a:r>
              <a:rPr lang="fi-FI" dirty="0" err="1"/>
              <a:t>Esperi</a:t>
            </a:r>
            <a:r>
              <a:rPr lang="fi-FI" dirty="0"/>
              <a:t> Care Group</a:t>
            </a:r>
          </a:p>
          <a:p>
            <a:r>
              <a:rPr lang="fi-FI" dirty="0"/>
              <a:t>10 NOKIA ***</a:t>
            </a:r>
          </a:p>
          <a:p>
            <a:r>
              <a:rPr lang="fi-FI" dirty="0"/>
              <a:t>UPM-Kymme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64B424-B443-4C84-B004-B9F85B24F1BE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94774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8 %-yk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64B424-B443-4C84-B004-B9F85B24F1BE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770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BAA7B5-7CF6-42D5-B89C-FC81CFF2F024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6245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A55840-3E5C-348C-C4FA-6A388FCE55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FEB9C7-E39B-7DC6-53D5-209AA68D64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B6514C-79ED-B9F9-D279-CA137E7448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0FDB7B-24C4-51F4-FDAD-AFB9B49497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BAA7B5-7CF6-42D5-B89C-FC81CFF2F024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742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024EA4-F424-D26E-F5E5-FE1B74BB9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329190-5FFF-3783-6B07-2AF52A6395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464618-5FEC-0B74-8F69-CBDA241A1F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C0154-7B90-9305-BAA0-65CCAF5C35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2F1864-8826-4CB3-9926-2BD43E26762B}" type="slidenum">
              <a:rPr lang="LID4096" smtClean="0"/>
              <a:t>33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0743762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FEC39B-1A61-E64C-0CF1-4EF6F8FE19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70CE24-03C4-7716-707B-856C1A1124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C800C1-52CB-6FAB-4872-3D5A77B99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4072E7-43C9-D3E4-7F95-D48D93221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2727D-3C11-0F16-C5F4-1F718B452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451525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D4802-D336-5D3F-D496-F2B5C8FE5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D394C4A-4702-FF69-EC56-9058147F5A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F13D0D-D037-DEA6-64FE-A16AE62E1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F899E0-9776-A15A-5AA6-0873D4EF53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81D253-1560-13CA-2289-7FBDC8905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031494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8172507-CF77-5D02-4DD7-941FB6A098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6B395A-71CE-CA12-3C91-54FD9FED5C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195F2B-486B-AE90-2C3D-E4CA0B399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7A0E1A-E51E-1D91-D0A8-4DE0CBB65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63DDD5-2FCD-1216-2036-5D6269D28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9217748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D5CC1-4E9E-32D8-761F-64E5EAA88F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074B81-A492-CCFC-9550-48686A095E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C9B0A2-130B-85DA-C316-14E6E6999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D16A46-EC56-343F-030B-562FF6AE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C8D9C0-BCF6-81BA-AD46-70DDDF4CC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454888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C927B-E75A-E23F-BCD9-305E5905A8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9D6375-21A4-F504-EA42-AE7E756FFD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2B76BB-51A8-E3E3-A1F3-31E8C397B7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A2CA62-B383-48D0-2298-A98CD62644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5F4B2B-C360-9895-970D-5FE71D5EB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5490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BE9F9-8D2B-A93B-929F-F80E4CDA6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A41C14-1FC1-E568-62FC-DE2EEB05C4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3CC80D-87A1-FA7C-8158-6752392D9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D50A91-D586-86F8-EBCF-6A7D1B4A7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263EA6-80AB-DE35-187C-B63748A7B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71829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C3382-1771-283A-BF49-C74ACDED4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C80E08-476C-0971-07D0-C20685E835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472DE12-5D8F-52E6-B52E-BADDBDA1EF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CE462C-B1B8-6830-806D-A1264ED7D3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55B521-488A-8893-61A1-7B72310AE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27CE74-571E-9BEF-8C62-82C8F6850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663212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4654D-C064-E8EA-DD9F-0184E9EAF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73882-0C35-51DA-F543-02F9B5F1C3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FEF469-81DC-9D5E-C725-C686127DD3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005618-5475-AA33-4CC5-94283D1C86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4CDDBE-5450-E11E-E4EE-1F89FC4695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BB357D-774F-2A98-F99D-BC2C495530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56AA3C-0CD1-318D-C2DA-D6AD39E1F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A4C0BCE-81CE-6454-DAF1-C9B71BF80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3308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AEA57B-5B3B-8818-B99A-B64ECF920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972AD1-D42A-8D92-3910-73E0BD2E0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927248-0642-04E3-D43C-9869A77C0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41980-4138-C46F-4FB9-403C8466E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380250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D184CD-A5C3-3CA4-26FB-24CE2DC18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C67C1D-9D38-79CB-02AA-F78AFD81F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47A445-2405-AAE0-B4F1-0EB5BFCFC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03318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ED97C-E621-B1F8-170C-0486C7AA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05C7F6-CB31-0DA1-FB57-2A443E86B4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4DD8B1-CC44-1D7B-6F6E-78489F10DF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A8704B-72B9-437B-831C-67F44B79C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CE845-AC96-9726-B092-3BF29F498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A90710-211A-D676-AC5D-4C6C9864D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735887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FD8DD-9976-DDA7-EB9F-B40FD933F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2F41A-9DC3-EA28-CC2B-7078EEFE2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D911EA-AE60-774E-81E6-26E7EAEF2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507054-4622-95D3-EF14-2F414C6C1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7D5319-4D60-64CE-C0BE-0363A3D76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28758575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5E76C1-250B-BDDA-261C-CA72B907D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5DE15D-AA6B-A18E-3983-194EF7E08F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2649CC-606F-5FEF-F0BA-361034DBCE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965CB0-9E64-F327-F38C-C0533AB33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5EEA23-681E-A7AF-0923-B0BAFC52C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3EE4F7-E655-35FD-79BF-9CAA57F6F6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690428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7833B-A969-6858-4060-DE465ECBF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101631-70C5-1AE1-DDB1-F2B373628C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AAD7D-E0A5-4D8C-5F20-713969D2E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BB84B2-5365-0525-058C-70BF74C272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A189F-9992-692F-70A1-CF2C8AE60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1726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DF74C37-2851-6616-FAE0-BEC0FA608B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22C21C3-9D45-3DEA-5909-1F5F6EFBD5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99FD6-B881-23C6-D6DB-35B8AB21A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23097F-7A3B-35C5-A6FA-B7FA79F64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37100-DF34-A9AB-D790-EADB5912A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617808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9A5F71-F232-4D04-A473-565A8AEEF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10C3A39-B678-4192-B33C-BD11A99D74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62E14F-5A08-4209-9343-33B2758349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D24FA8-8D3A-4BB2-863B-9410E09A1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BEC591-81F5-4DB7-B189-A38B75AEA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612520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8A1DE-B413-4995-B668-569CEB1A6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2B64F5-3E42-48D4-B9BC-8608883343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471E48-BA11-4510-8B1C-022BBB667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27EB51-7E86-41DA-A833-FA924392F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B171AB-0023-4B03-9B3B-F8DFF26A3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91585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12F76D-4916-46BA-883A-1A7F99245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1538B4-E426-4B9A-9903-B81FCC45B7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18CB26-961D-4358-ADE4-CD50316A04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13EE7C-C3B2-453E-920F-578AC243F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84810-7794-4E67-956C-D784CF906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610264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83962-69AF-4AB4-BD97-B043BEF0E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E25653-92DF-4C89-94AD-4F1ADD4535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5C8FFB-D150-48F4-BC86-2D77AE2693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7C4A54-BC68-4734-BB56-F74288C73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3B535B-FE7D-4963-B445-6B1830E3CD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338543-4D26-4C52-98AA-2206A3677E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179300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19DBA1-E18E-41DF-A27A-FFF0C9466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9AA294-FE28-4DC2-AF25-D95F74701C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22171C-25A5-4C98-B856-FAAAE641B0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861A84-CD77-450F-83CF-4AA55BAA5F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975456-FAA0-496C-9297-AE472F3B3E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8D8662-0C91-4927-B15F-F8D65C7B2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1CEDBD-39CB-4D48-B3F1-D3394D03F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9432599-7AAE-4F5D-8E61-5BAE0CB75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62837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864C67-5F8B-4CA9-AD6A-91B7FD9AD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B1585D-F746-4A29-90E6-D5A540056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DEF5D3-462A-4091-81A7-9E4E73BF6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A1E1A4-B928-4FC1-ACCC-6DE90C83D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992123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979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F5E90F-623B-5F91-D8B8-617794A5D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D7E67F-701E-DD1D-2445-1B8D81639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4A5E09-322F-C89A-6AF7-D22225C9D4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BFDEC0-DD7C-C0CA-1900-34FD27B1C1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E9C384-A77B-BC53-1A31-52003028D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1428273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1E499-B9C4-4C1F-9A4E-BF0707DDE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71D96C-85EA-4D5F-92C1-F793A70946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1F38A9-0B95-4767-943B-402F84E530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CF7F0D-312F-485A-B06C-480D67AA2F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4D0536-84AF-414A-8DB1-537031E54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15C66D-9619-4BF1-A98F-5251B0606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760014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AA4E8-79B2-4ECE-8249-5CF173CC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7503686-6634-4CA4-BD6D-B8D64F0FC5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7F0CBD-1068-4AFB-BFF5-CBC6F5B1D1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6782BE-7ACC-4389-975E-3B094F9458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D07C9F-6D7F-4DBC-AFC0-531417905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B162D9-29E2-4956-ADCF-6B25C3CDF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58629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4C27AA-B0F8-4A8E-829E-CC71B5CB9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5EFCC2-4C55-4997-9587-5A00978B46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C7E431-1615-4723-8E2E-480A7CDAEE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4777FE-2C9E-4BAA-A551-34CCF2467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98CA34-1E6E-452A-9A22-88EEEE1C7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569989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D2730E9-11AA-44DC-8B55-6B3B87E9DE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2B97FA-C5F2-4C6E-8BC3-3CE7AB0290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200E15-28B3-4ECB-A260-08042E5156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6DE4F5-6802-4751-ABD9-1DD1237B2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C5D36-6262-4CAA-8DC4-E4AFBCAB7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05136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5B943-B928-F9E1-B840-1808B1830A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256ADC-9574-7B23-DD43-982EE62EBB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DC326-4EC2-AAF9-2ECB-DD11C003E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E4445B-698E-556C-E47A-AAC1100BA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CE6B9B-1713-82B3-B9AB-87913C0CE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094183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CE560D-F3EA-1364-C93E-F2E08CCDC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DF16B-EA8E-65B9-6D81-C44A5EC06E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D57068-EB48-A2C0-6D9A-2AAA112D9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A1D4D7-7072-7292-288F-48593CADED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69ECC7-BE76-A791-9F7B-2BD1617349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591470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9D0A9-3A00-AEE3-5102-2E1DA4E8C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40E633-4CD1-1356-8F84-C084E1B32D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1D0E13-0A72-3ACD-3999-F2D3E3B5A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286982-ACB3-5B47-47B0-7B56FF9A48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6356AF-92AA-A1CF-5F00-2B8F9FFBF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003679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78ABC6-0F85-9EF7-275D-48FA29E36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8FDAE3-2AB1-FB12-AA56-7012244EEB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9CA628-F488-EE8D-D310-A3C77FD878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8CD6EC-85A2-F602-9454-1546D5D77E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D70E90-BF41-8EB0-F2B9-5FA150ABE4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AD1793-D9FF-7BB4-DC7F-D23F0FFFE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09012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A44EB-450C-4A0F-6B51-62A2B4EC2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DFCB73-D38A-F364-96AA-CEEFED75F4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926EC3-ACFF-46BE-2793-5EDFC4B1E9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A0CB0D-30AD-AA1E-5437-4F1508A5AC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8C46E3-5520-2ED1-8240-45DEAF7CCB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A91CCC-3933-6EAF-E0A3-BCE4DAEEA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6D3212-BC84-E937-7B4D-4B5C10A8C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CFA0BD6-9C6A-1ADF-6AA2-C32742609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464622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96748-0DDB-69CF-B16D-C91544922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DBA7CD0-B7CD-7322-09E4-FB474AC9B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380E4D-2925-A82D-06A3-2424CDD7E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B02F8D-419A-A9B8-5133-21D1473A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7104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32B90E-0474-4D85-0E9C-12E766B86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620427-B422-1A45-0847-30864F2EE5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70A98-FD61-9326-EB8F-1832B20D2C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A16DF7-FE32-CD39-5F88-10946C3F9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E2F425-F7F1-6611-5934-C8613A9CB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8BF809-F1F6-CC12-7896-FD1A36ECE4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9223297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1F310E9-96B4-F5E0-2C1A-A0059E00F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77980D-BCD3-C48B-B90D-F551C528F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DFAAFC-04CB-04E0-EB07-59C245A6C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09601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43380-43E9-B514-BEA8-5B6E5B0C7F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8C83DF-9D65-4B19-0C73-692A340C51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7ABD28-DA7D-60E8-65D2-783B667D6A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26752A-9292-8AAA-68DF-70C9D1F74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CA7B74-5C9D-35E7-E384-0051D1EFD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CC4151-2197-FF3B-B072-2975C20548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022236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AD494C-F8B3-A4F0-4139-ECE2E4E55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620D70-9D41-8747-6D9C-CFF2C27C69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201103-C3F6-8CA0-9721-88525AD7A1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076A38-8A98-B83D-03B5-ECC119A73C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7F3B96-46DA-86F9-1656-26155AA3F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76E68F-8FB5-5EA4-3BD1-B2D1530C0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476667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C6940-ECE4-675C-C0EA-964938DDE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9DB824-CF0F-A083-F64A-AB90A48AE3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771604-50A9-6207-93FE-27FA9E92A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E3457E-20BD-FF97-2710-237858EE1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859AB3-F296-8985-53A8-52ACFF0B6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596206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69DFA6-E50E-4A4F-6874-E273E0C23C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2F8A75-9140-1984-34FC-A135A4D160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15F070-2031-D645-4430-C2DDC4D3D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B36C63-8049-626B-CB93-FBD361080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DEA4B-9DDC-077C-F97A-35C080070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644135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F0F5522-E427-4A11-A303-E1DA910ED41B}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4120656D-55A0-4947-8C17-4A3A17D551F3}"/>
              </a:ext>
            </a:extLst>
          </p:cNvPr>
          <p:cNvSpPr>
            <a:spLocks/>
          </p:cNvSpPr>
          <p:nvPr/>
        </p:nvSpPr>
        <p:spPr bwMode="auto">
          <a:xfrm>
            <a:off x="0" y="3429000"/>
            <a:ext cx="12192000" cy="3429000"/>
          </a:xfrm>
          <a:custGeom>
            <a:avLst/>
            <a:gdLst>
              <a:gd name="T0" fmla="*/ 14546 w 15364"/>
              <a:gd name="T1" fmla="*/ 0 h 6468"/>
              <a:gd name="T2" fmla="*/ 12975 w 15364"/>
              <a:gd name="T3" fmla="*/ 776 h 6468"/>
              <a:gd name="T4" fmla="*/ 12975 w 15364"/>
              <a:gd name="T5" fmla="*/ 3102 h 6468"/>
              <a:gd name="T6" fmla="*/ 12975 w 15364"/>
              <a:gd name="T7" fmla="*/ 5429 h 6468"/>
              <a:gd name="T8" fmla="*/ 12420 w 15364"/>
              <a:gd name="T9" fmla="*/ 4653 h 6468"/>
              <a:gd name="T10" fmla="*/ 11588 w 15364"/>
              <a:gd name="T11" fmla="*/ 2327 h 6468"/>
              <a:gd name="T12" fmla="*/ 10757 w 15364"/>
              <a:gd name="T13" fmla="*/ 0 h 6468"/>
              <a:gd name="T14" fmla="*/ 9186 w 15364"/>
              <a:gd name="T15" fmla="*/ 776 h 6468"/>
              <a:gd name="T16" fmla="*/ 9186 w 15364"/>
              <a:gd name="T17" fmla="*/ 3102 h 6468"/>
              <a:gd name="T18" fmla="*/ 9186 w 15364"/>
              <a:gd name="T19" fmla="*/ 5429 h 6468"/>
              <a:gd name="T20" fmla="*/ 8631 w 15364"/>
              <a:gd name="T21" fmla="*/ 4653 h 6468"/>
              <a:gd name="T22" fmla="*/ 7799 w 15364"/>
              <a:gd name="T23" fmla="*/ 2327 h 6468"/>
              <a:gd name="T24" fmla="*/ 6968 w 15364"/>
              <a:gd name="T25" fmla="*/ 0 h 6468"/>
              <a:gd name="T26" fmla="*/ 5397 w 15364"/>
              <a:gd name="T27" fmla="*/ 776 h 6468"/>
              <a:gd name="T28" fmla="*/ 5397 w 15364"/>
              <a:gd name="T29" fmla="*/ 3102 h 6468"/>
              <a:gd name="T30" fmla="*/ 5397 w 15364"/>
              <a:gd name="T31" fmla="*/ 5429 h 6468"/>
              <a:gd name="T32" fmla="*/ 4842 w 15364"/>
              <a:gd name="T33" fmla="*/ 4653 h 6468"/>
              <a:gd name="T34" fmla="*/ 4009 w 15364"/>
              <a:gd name="T35" fmla="*/ 2327 h 6468"/>
              <a:gd name="T36" fmla="*/ 3178 w 15364"/>
              <a:gd name="T37" fmla="*/ 0 h 6468"/>
              <a:gd name="T38" fmla="*/ 1608 w 15364"/>
              <a:gd name="T39" fmla="*/ 776 h 6468"/>
              <a:gd name="T40" fmla="*/ 1608 w 15364"/>
              <a:gd name="T41" fmla="*/ 3102 h 6468"/>
              <a:gd name="T42" fmla="*/ 1608 w 15364"/>
              <a:gd name="T43" fmla="*/ 5429 h 6468"/>
              <a:gd name="T44" fmla="*/ 804 w 15364"/>
              <a:gd name="T45" fmla="*/ 3956 h 6468"/>
              <a:gd name="T46" fmla="*/ 0 w 15364"/>
              <a:gd name="T47" fmla="*/ 2325 h 6468"/>
              <a:gd name="T48" fmla="*/ 0 w 15364"/>
              <a:gd name="T49" fmla="*/ 4180 h 6468"/>
              <a:gd name="T50" fmla="*/ 1602 w 15364"/>
              <a:gd name="T51" fmla="*/ 6468 h 6468"/>
              <a:gd name="T52" fmla="*/ 2388 w 15364"/>
              <a:gd name="T53" fmla="*/ 4917 h 6468"/>
              <a:gd name="T54" fmla="*/ 2388 w 15364"/>
              <a:gd name="T55" fmla="*/ 2590 h 6468"/>
              <a:gd name="T56" fmla="*/ 2388 w 15364"/>
              <a:gd name="T57" fmla="*/ 264 h 6468"/>
              <a:gd name="T58" fmla="*/ 3219 w 15364"/>
              <a:gd name="T59" fmla="*/ 2590 h 6468"/>
              <a:gd name="T60" fmla="*/ 4052 w 15364"/>
              <a:gd name="T61" fmla="*/ 4917 h 6468"/>
              <a:gd name="T62" fmla="*/ 5392 w 15364"/>
              <a:gd name="T63" fmla="*/ 6468 h 6468"/>
              <a:gd name="T64" fmla="*/ 6178 w 15364"/>
              <a:gd name="T65" fmla="*/ 4917 h 6468"/>
              <a:gd name="T66" fmla="*/ 6178 w 15364"/>
              <a:gd name="T67" fmla="*/ 2590 h 6468"/>
              <a:gd name="T68" fmla="*/ 6178 w 15364"/>
              <a:gd name="T69" fmla="*/ 264 h 6468"/>
              <a:gd name="T70" fmla="*/ 7009 w 15364"/>
              <a:gd name="T71" fmla="*/ 2590 h 6468"/>
              <a:gd name="T72" fmla="*/ 7841 w 15364"/>
              <a:gd name="T73" fmla="*/ 4917 h 6468"/>
              <a:gd name="T74" fmla="*/ 9181 w 15364"/>
              <a:gd name="T75" fmla="*/ 6468 h 6468"/>
              <a:gd name="T76" fmla="*/ 9967 w 15364"/>
              <a:gd name="T77" fmla="*/ 4917 h 6468"/>
              <a:gd name="T78" fmla="*/ 9967 w 15364"/>
              <a:gd name="T79" fmla="*/ 2590 h 6468"/>
              <a:gd name="T80" fmla="*/ 9967 w 15364"/>
              <a:gd name="T81" fmla="*/ 264 h 6468"/>
              <a:gd name="T82" fmla="*/ 10798 w 15364"/>
              <a:gd name="T83" fmla="*/ 2590 h 6468"/>
              <a:gd name="T84" fmla="*/ 11630 w 15364"/>
              <a:gd name="T85" fmla="*/ 4917 h 6468"/>
              <a:gd name="T86" fmla="*/ 12970 w 15364"/>
              <a:gd name="T87" fmla="*/ 6468 h 6468"/>
              <a:gd name="T88" fmla="*/ 13756 w 15364"/>
              <a:gd name="T89" fmla="*/ 4917 h 6468"/>
              <a:gd name="T90" fmla="*/ 13756 w 15364"/>
              <a:gd name="T91" fmla="*/ 2590 h 6468"/>
              <a:gd name="T92" fmla="*/ 13756 w 15364"/>
              <a:gd name="T93" fmla="*/ 264 h 6468"/>
              <a:gd name="T94" fmla="*/ 14962 w 15364"/>
              <a:gd name="T95" fmla="*/ 3637 h 6468"/>
              <a:gd name="T96" fmla="*/ 15364 w 15364"/>
              <a:gd name="T97" fmla="*/ 3524 h 6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5364" h="6468">
                <a:moveTo>
                  <a:pt x="15364" y="2288"/>
                </a:moveTo>
                <a:lnTo>
                  <a:pt x="14955" y="1144"/>
                </a:lnTo>
                <a:lnTo>
                  <a:pt x="14546" y="0"/>
                </a:lnTo>
                <a:lnTo>
                  <a:pt x="13761" y="0"/>
                </a:lnTo>
                <a:lnTo>
                  <a:pt x="12975" y="0"/>
                </a:lnTo>
                <a:lnTo>
                  <a:pt x="12975" y="776"/>
                </a:lnTo>
                <a:lnTo>
                  <a:pt x="12975" y="1551"/>
                </a:lnTo>
                <a:lnTo>
                  <a:pt x="12975" y="2327"/>
                </a:lnTo>
                <a:lnTo>
                  <a:pt x="12975" y="3102"/>
                </a:lnTo>
                <a:lnTo>
                  <a:pt x="12975" y="3878"/>
                </a:lnTo>
                <a:lnTo>
                  <a:pt x="12975" y="4653"/>
                </a:lnTo>
                <a:lnTo>
                  <a:pt x="12975" y="5429"/>
                </a:lnTo>
                <a:lnTo>
                  <a:pt x="12975" y="6204"/>
                </a:lnTo>
                <a:lnTo>
                  <a:pt x="12697" y="5429"/>
                </a:lnTo>
                <a:lnTo>
                  <a:pt x="12420" y="4653"/>
                </a:lnTo>
                <a:lnTo>
                  <a:pt x="12143" y="3878"/>
                </a:lnTo>
                <a:lnTo>
                  <a:pt x="11866" y="3102"/>
                </a:lnTo>
                <a:lnTo>
                  <a:pt x="11588" y="2327"/>
                </a:lnTo>
                <a:lnTo>
                  <a:pt x="11311" y="1551"/>
                </a:lnTo>
                <a:lnTo>
                  <a:pt x="11034" y="776"/>
                </a:lnTo>
                <a:lnTo>
                  <a:pt x="10757" y="0"/>
                </a:lnTo>
                <a:lnTo>
                  <a:pt x="9972" y="0"/>
                </a:lnTo>
                <a:lnTo>
                  <a:pt x="9186" y="0"/>
                </a:lnTo>
                <a:lnTo>
                  <a:pt x="9186" y="776"/>
                </a:lnTo>
                <a:lnTo>
                  <a:pt x="9186" y="1551"/>
                </a:lnTo>
                <a:lnTo>
                  <a:pt x="9186" y="2327"/>
                </a:lnTo>
                <a:lnTo>
                  <a:pt x="9186" y="3102"/>
                </a:lnTo>
                <a:lnTo>
                  <a:pt x="9186" y="3878"/>
                </a:lnTo>
                <a:lnTo>
                  <a:pt x="9186" y="4653"/>
                </a:lnTo>
                <a:lnTo>
                  <a:pt x="9186" y="5429"/>
                </a:lnTo>
                <a:lnTo>
                  <a:pt x="9186" y="6204"/>
                </a:lnTo>
                <a:lnTo>
                  <a:pt x="8908" y="5429"/>
                </a:lnTo>
                <a:lnTo>
                  <a:pt x="8631" y="4653"/>
                </a:lnTo>
                <a:lnTo>
                  <a:pt x="8354" y="3878"/>
                </a:lnTo>
                <a:lnTo>
                  <a:pt x="8077" y="3102"/>
                </a:lnTo>
                <a:lnTo>
                  <a:pt x="7799" y="2327"/>
                </a:lnTo>
                <a:lnTo>
                  <a:pt x="7522" y="1551"/>
                </a:lnTo>
                <a:lnTo>
                  <a:pt x="7245" y="776"/>
                </a:lnTo>
                <a:lnTo>
                  <a:pt x="6968" y="0"/>
                </a:lnTo>
                <a:lnTo>
                  <a:pt x="6183" y="0"/>
                </a:lnTo>
                <a:lnTo>
                  <a:pt x="5397" y="0"/>
                </a:lnTo>
                <a:lnTo>
                  <a:pt x="5397" y="776"/>
                </a:lnTo>
                <a:lnTo>
                  <a:pt x="5397" y="1551"/>
                </a:lnTo>
                <a:lnTo>
                  <a:pt x="5397" y="2327"/>
                </a:lnTo>
                <a:lnTo>
                  <a:pt x="5397" y="3102"/>
                </a:lnTo>
                <a:lnTo>
                  <a:pt x="5397" y="3878"/>
                </a:lnTo>
                <a:lnTo>
                  <a:pt x="5397" y="4653"/>
                </a:lnTo>
                <a:lnTo>
                  <a:pt x="5397" y="5429"/>
                </a:lnTo>
                <a:lnTo>
                  <a:pt x="5397" y="6204"/>
                </a:lnTo>
                <a:lnTo>
                  <a:pt x="5119" y="5429"/>
                </a:lnTo>
                <a:lnTo>
                  <a:pt x="4842" y="4653"/>
                </a:lnTo>
                <a:lnTo>
                  <a:pt x="4564" y="3878"/>
                </a:lnTo>
                <a:lnTo>
                  <a:pt x="4287" y="3102"/>
                </a:lnTo>
                <a:lnTo>
                  <a:pt x="4009" y="2327"/>
                </a:lnTo>
                <a:lnTo>
                  <a:pt x="3732" y="1551"/>
                </a:lnTo>
                <a:lnTo>
                  <a:pt x="3455" y="776"/>
                </a:lnTo>
                <a:lnTo>
                  <a:pt x="3178" y="0"/>
                </a:lnTo>
                <a:lnTo>
                  <a:pt x="2393" y="0"/>
                </a:lnTo>
                <a:lnTo>
                  <a:pt x="1608" y="0"/>
                </a:lnTo>
                <a:lnTo>
                  <a:pt x="1608" y="776"/>
                </a:lnTo>
                <a:lnTo>
                  <a:pt x="1608" y="1551"/>
                </a:lnTo>
                <a:lnTo>
                  <a:pt x="1608" y="2327"/>
                </a:lnTo>
                <a:lnTo>
                  <a:pt x="1608" y="3102"/>
                </a:lnTo>
                <a:lnTo>
                  <a:pt x="1608" y="3878"/>
                </a:lnTo>
                <a:lnTo>
                  <a:pt x="1608" y="4653"/>
                </a:lnTo>
                <a:lnTo>
                  <a:pt x="1608" y="5429"/>
                </a:lnTo>
                <a:lnTo>
                  <a:pt x="1608" y="6204"/>
                </a:lnTo>
                <a:lnTo>
                  <a:pt x="1206" y="5080"/>
                </a:lnTo>
                <a:lnTo>
                  <a:pt x="804" y="3956"/>
                </a:lnTo>
                <a:lnTo>
                  <a:pt x="402" y="2831"/>
                </a:lnTo>
                <a:lnTo>
                  <a:pt x="0" y="1708"/>
                </a:lnTo>
                <a:lnTo>
                  <a:pt x="0" y="2325"/>
                </a:lnTo>
                <a:lnTo>
                  <a:pt x="0" y="2944"/>
                </a:lnTo>
                <a:lnTo>
                  <a:pt x="0" y="3562"/>
                </a:lnTo>
                <a:lnTo>
                  <a:pt x="0" y="4180"/>
                </a:lnTo>
                <a:lnTo>
                  <a:pt x="409" y="5324"/>
                </a:lnTo>
                <a:lnTo>
                  <a:pt x="818" y="6468"/>
                </a:lnTo>
                <a:lnTo>
                  <a:pt x="1602" y="6468"/>
                </a:lnTo>
                <a:lnTo>
                  <a:pt x="2388" y="6468"/>
                </a:lnTo>
                <a:lnTo>
                  <a:pt x="2388" y="5692"/>
                </a:lnTo>
                <a:lnTo>
                  <a:pt x="2388" y="4917"/>
                </a:lnTo>
                <a:lnTo>
                  <a:pt x="2388" y="4141"/>
                </a:lnTo>
                <a:lnTo>
                  <a:pt x="2388" y="3366"/>
                </a:lnTo>
                <a:lnTo>
                  <a:pt x="2388" y="2590"/>
                </a:lnTo>
                <a:lnTo>
                  <a:pt x="2388" y="1815"/>
                </a:lnTo>
                <a:lnTo>
                  <a:pt x="2388" y="1039"/>
                </a:lnTo>
                <a:lnTo>
                  <a:pt x="2388" y="264"/>
                </a:lnTo>
                <a:lnTo>
                  <a:pt x="2665" y="1039"/>
                </a:lnTo>
                <a:lnTo>
                  <a:pt x="2942" y="1815"/>
                </a:lnTo>
                <a:lnTo>
                  <a:pt x="3219" y="2590"/>
                </a:lnTo>
                <a:lnTo>
                  <a:pt x="3497" y="3366"/>
                </a:lnTo>
                <a:lnTo>
                  <a:pt x="3774" y="4141"/>
                </a:lnTo>
                <a:lnTo>
                  <a:pt x="4052" y="4917"/>
                </a:lnTo>
                <a:lnTo>
                  <a:pt x="4329" y="5692"/>
                </a:lnTo>
                <a:lnTo>
                  <a:pt x="4607" y="6468"/>
                </a:lnTo>
                <a:lnTo>
                  <a:pt x="5392" y="6468"/>
                </a:lnTo>
                <a:lnTo>
                  <a:pt x="6178" y="6468"/>
                </a:lnTo>
                <a:lnTo>
                  <a:pt x="6178" y="5692"/>
                </a:lnTo>
                <a:lnTo>
                  <a:pt x="6178" y="4917"/>
                </a:lnTo>
                <a:lnTo>
                  <a:pt x="6178" y="4141"/>
                </a:lnTo>
                <a:lnTo>
                  <a:pt x="6178" y="3366"/>
                </a:lnTo>
                <a:lnTo>
                  <a:pt x="6178" y="2590"/>
                </a:lnTo>
                <a:lnTo>
                  <a:pt x="6178" y="1815"/>
                </a:lnTo>
                <a:lnTo>
                  <a:pt x="6178" y="1039"/>
                </a:lnTo>
                <a:lnTo>
                  <a:pt x="6178" y="264"/>
                </a:lnTo>
                <a:lnTo>
                  <a:pt x="6455" y="1039"/>
                </a:lnTo>
                <a:lnTo>
                  <a:pt x="6732" y="1815"/>
                </a:lnTo>
                <a:lnTo>
                  <a:pt x="7009" y="2590"/>
                </a:lnTo>
                <a:lnTo>
                  <a:pt x="7287" y="3366"/>
                </a:lnTo>
                <a:lnTo>
                  <a:pt x="7564" y="4141"/>
                </a:lnTo>
                <a:lnTo>
                  <a:pt x="7841" y="4917"/>
                </a:lnTo>
                <a:lnTo>
                  <a:pt x="8118" y="5692"/>
                </a:lnTo>
                <a:lnTo>
                  <a:pt x="8396" y="6468"/>
                </a:lnTo>
                <a:lnTo>
                  <a:pt x="9181" y="6468"/>
                </a:lnTo>
                <a:lnTo>
                  <a:pt x="9967" y="6468"/>
                </a:lnTo>
                <a:lnTo>
                  <a:pt x="9967" y="5692"/>
                </a:lnTo>
                <a:lnTo>
                  <a:pt x="9967" y="4917"/>
                </a:lnTo>
                <a:lnTo>
                  <a:pt x="9967" y="4141"/>
                </a:lnTo>
                <a:lnTo>
                  <a:pt x="9967" y="3366"/>
                </a:lnTo>
                <a:lnTo>
                  <a:pt x="9967" y="2590"/>
                </a:lnTo>
                <a:lnTo>
                  <a:pt x="9967" y="1815"/>
                </a:lnTo>
                <a:lnTo>
                  <a:pt x="9967" y="1039"/>
                </a:lnTo>
                <a:lnTo>
                  <a:pt x="9967" y="264"/>
                </a:lnTo>
                <a:lnTo>
                  <a:pt x="10244" y="1039"/>
                </a:lnTo>
                <a:lnTo>
                  <a:pt x="10521" y="1815"/>
                </a:lnTo>
                <a:lnTo>
                  <a:pt x="10798" y="2590"/>
                </a:lnTo>
                <a:lnTo>
                  <a:pt x="11076" y="3366"/>
                </a:lnTo>
                <a:lnTo>
                  <a:pt x="11353" y="4141"/>
                </a:lnTo>
                <a:lnTo>
                  <a:pt x="11630" y="4917"/>
                </a:lnTo>
                <a:lnTo>
                  <a:pt x="11907" y="5692"/>
                </a:lnTo>
                <a:lnTo>
                  <a:pt x="12185" y="6468"/>
                </a:lnTo>
                <a:lnTo>
                  <a:pt x="12970" y="6468"/>
                </a:lnTo>
                <a:lnTo>
                  <a:pt x="13756" y="6468"/>
                </a:lnTo>
                <a:lnTo>
                  <a:pt x="13756" y="5692"/>
                </a:lnTo>
                <a:lnTo>
                  <a:pt x="13756" y="4917"/>
                </a:lnTo>
                <a:lnTo>
                  <a:pt x="13756" y="4141"/>
                </a:lnTo>
                <a:lnTo>
                  <a:pt x="13756" y="3366"/>
                </a:lnTo>
                <a:lnTo>
                  <a:pt x="13756" y="2590"/>
                </a:lnTo>
                <a:lnTo>
                  <a:pt x="13756" y="1815"/>
                </a:lnTo>
                <a:lnTo>
                  <a:pt x="13756" y="1039"/>
                </a:lnTo>
                <a:lnTo>
                  <a:pt x="13756" y="264"/>
                </a:lnTo>
                <a:lnTo>
                  <a:pt x="14158" y="1388"/>
                </a:lnTo>
                <a:lnTo>
                  <a:pt x="14560" y="2512"/>
                </a:lnTo>
                <a:lnTo>
                  <a:pt x="14962" y="3637"/>
                </a:lnTo>
                <a:lnTo>
                  <a:pt x="15364" y="4761"/>
                </a:lnTo>
                <a:lnTo>
                  <a:pt x="15364" y="4143"/>
                </a:lnTo>
                <a:lnTo>
                  <a:pt x="15364" y="3524"/>
                </a:lnTo>
                <a:lnTo>
                  <a:pt x="15364" y="2906"/>
                </a:lnTo>
                <a:lnTo>
                  <a:pt x="15364" y="2288"/>
                </a:lnTo>
                <a:close/>
              </a:path>
            </a:pathLst>
          </a:custGeom>
          <a:solidFill>
            <a:srgbClr val="4E04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2307" y="4699653"/>
            <a:ext cx="9214625" cy="626701"/>
          </a:xfrm>
        </p:spPr>
        <p:txBody>
          <a:bodyPr wrap="square" anchor="ctr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3599">
                <a:solidFill>
                  <a:schemeClr val="bg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ation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2828" y="1295124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8405511-63FE-7C43-BA01-C763BCCA7C49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976BE956-5843-2F5C-0AAB-3CF79B31FFE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94134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F0F5522-E427-4A11-A303-E1DA910ED41B}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27" name="Freeform 19">
            <a:extLst>
              <a:ext uri="{FF2B5EF4-FFF2-40B4-BE49-F238E27FC236}">
                <a16:creationId xmlns:a16="http://schemas.microsoft.com/office/drawing/2014/main" id="{2D0862CB-B55C-49A7-830D-B1A5CE45B8CE}"/>
              </a:ext>
            </a:extLst>
          </p:cNvPr>
          <p:cNvSpPr>
            <a:spLocks noEditPoints="1"/>
          </p:cNvSpPr>
          <p:nvPr/>
        </p:nvSpPr>
        <p:spPr bwMode="auto">
          <a:xfrm>
            <a:off x="0" y="3429000"/>
            <a:ext cx="12190413" cy="3429000"/>
          </a:xfrm>
          <a:custGeom>
            <a:avLst/>
            <a:gdLst>
              <a:gd name="T0" fmla="*/ 13604 w 15363"/>
              <a:gd name="T1" fmla="*/ 1092 h 4368"/>
              <a:gd name="T2" fmla="*/ 14776 w 15363"/>
              <a:gd name="T3" fmla="*/ 3276 h 4368"/>
              <a:gd name="T4" fmla="*/ 15051 w 15363"/>
              <a:gd name="T5" fmla="*/ 3822 h 4368"/>
              <a:gd name="T6" fmla="*/ 13879 w 15363"/>
              <a:gd name="T7" fmla="*/ 1638 h 4368"/>
              <a:gd name="T8" fmla="*/ 0 w 15363"/>
              <a:gd name="T9" fmla="*/ 0 h 4368"/>
              <a:gd name="T10" fmla="*/ 897 w 15363"/>
              <a:gd name="T11" fmla="*/ 1638 h 4368"/>
              <a:gd name="T12" fmla="*/ 2069 w 15363"/>
              <a:gd name="T13" fmla="*/ 3822 h 4368"/>
              <a:gd name="T14" fmla="*/ 1758 w 15363"/>
              <a:gd name="T15" fmla="*/ 3276 h 4368"/>
              <a:gd name="T16" fmla="*/ 586 w 15363"/>
              <a:gd name="T17" fmla="*/ 1092 h 4368"/>
              <a:gd name="T18" fmla="*/ 2494 w 15363"/>
              <a:gd name="T19" fmla="*/ 546 h 4368"/>
              <a:gd name="T20" fmla="*/ 2494 w 15363"/>
              <a:gd name="T21" fmla="*/ 2730 h 4368"/>
              <a:gd name="T22" fmla="*/ 2478 w 15363"/>
              <a:gd name="T23" fmla="*/ 4368 h 4368"/>
              <a:gd name="T24" fmla="*/ 2478 w 15363"/>
              <a:gd name="T25" fmla="*/ 2184 h 4368"/>
              <a:gd name="T26" fmla="*/ 2478 w 15363"/>
              <a:gd name="T27" fmla="*/ 0 h 4368"/>
              <a:gd name="T28" fmla="*/ 2911 w 15363"/>
              <a:gd name="T29" fmla="*/ 546 h 4368"/>
              <a:gd name="T30" fmla="*/ 4083 w 15363"/>
              <a:gd name="T31" fmla="*/ 2730 h 4368"/>
              <a:gd name="T32" fmla="*/ 4945 w 15363"/>
              <a:gd name="T33" fmla="*/ 4368 h 4368"/>
              <a:gd name="T34" fmla="*/ 3772 w 15363"/>
              <a:gd name="T35" fmla="*/ 2184 h 4368"/>
              <a:gd name="T36" fmla="*/ 2600 w 15363"/>
              <a:gd name="T37" fmla="*/ 0 h 4368"/>
              <a:gd name="T38" fmla="*/ 5094 w 15363"/>
              <a:gd name="T39" fmla="*/ 1638 h 4368"/>
              <a:gd name="T40" fmla="*/ 5094 w 15363"/>
              <a:gd name="T41" fmla="*/ 3822 h 4368"/>
              <a:gd name="T42" fmla="*/ 5077 w 15363"/>
              <a:gd name="T43" fmla="*/ 3276 h 4368"/>
              <a:gd name="T44" fmla="*/ 5077 w 15363"/>
              <a:gd name="T45" fmla="*/ 1092 h 4368"/>
              <a:gd name="T46" fmla="*/ 5200 w 15363"/>
              <a:gd name="T47" fmla="*/ 0 h 4368"/>
              <a:gd name="T48" fmla="*/ 6096 w 15363"/>
              <a:gd name="T49" fmla="*/ 1638 h 4368"/>
              <a:gd name="T50" fmla="*/ 7269 w 15363"/>
              <a:gd name="T51" fmla="*/ 3822 h 4368"/>
              <a:gd name="T52" fmla="*/ 6958 w 15363"/>
              <a:gd name="T53" fmla="*/ 3276 h 4368"/>
              <a:gd name="T54" fmla="*/ 5786 w 15363"/>
              <a:gd name="T55" fmla="*/ 1092 h 4368"/>
              <a:gd name="T56" fmla="*/ 7694 w 15363"/>
              <a:gd name="T57" fmla="*/ 546 h 4368"/>
              <a:gd name="T58" fmla="*/ 7694 w 15363"/>
              <a:gd name="T59" fmla="*/ 2730 h 4368"/>
              <a:gd name="T60" fmla="*/ 7678 w 15363"/>
              <a:gd name="T61" fmla="*/ 4368 h 4368"/>
              <a:gd name="T62" fmla="*/ 7678 w 15363"/>
              <a:gd name="T63" fmla="*/ 2184 h 4368"/>
              <a:gd name="T64" fmla="*/ 7678 w 15363"/>
              <a:gd name="T65" fmla="*/ 0 h 4368"/>
              <a:gd name="T66" fmla="*/ 8111 w 15363"/>
              <a:gd name="T67" fmla="*/ 546 h 4368"/>
              <a:gd name="T68" fmla="*/ 9283 w 15363"/>
              <a:gd name="T69" fmla="*/ 2730 h 4368"/>
              <a:gd name="T70" fmla="*/ 10145 w 15363"/>
              <a:gd name="T71" fmla="*/ 4368 h 4368"/>
              <a:gd name="T72" fmla="*/ 8972 w 15363"/>
              <a:gd name="T73" fmla="*/ 2184 h 4368"/>
              <a:gd name="T74" fmla="*/ 7800 w 15363"/>
              <a:gd name="T75" fmla="*/ 0 h 4368"/>
              <a:gd name="T76" fmla="*/ 10295 w 15363"/>
              <a:gd name="T77" fmla="*/ 1638 h 4368"/>
              <a:gd name="T78" fmla="*/ 10295 w 15363"/>
              <a:gd name="T79" fmla="*/ 3822 h 4368"/>
              <a:gd name="T80" fmla="*/ 10278 w 15363"/>
              <a:gd name="T81" fmla="*/ 3276 h 4368"/>
              <a:gd name="T82" fmla="*/ 10278 w 15363"/>
              <a:gd name="T83" fmla="*/ 1092 h 4368"/>
              <a:gd name="T84" fmla="*/ 10400 w 15363"/>
              <a:gd name="T85" fmla="*/ 0 h 4368"/>
              <a:gd name="T86" fmla="*/ 11297 w 15363"/>
              <a:gd name="T87" fmla="*/ 1638 h 4368"/>
              <a:gd name="T88" fmla="*/ 12470 w 15363"/>
              <a:gd name="T89" fmla="*/ 3822 h 4368"/>
              <a:gd name="T90" fmla="*/ 12158 w 15363"/>
              <a:gd name="T91" fmla="*/ 3276 h 4368"/>
              <a:gd name="T92" fmla="*/ 10986 w 15363"/>
              <a:gd name="T93" fmla="*/ 1092 h 4368"/>
              <a:gd name="T94" fmla="*/ 12894 w 15363"/>
              <a:gd name="T95" fmla="*/ 546 h 4368"/>
              <a:gd name="T96" fmla="*/ 12894 w 15363"/>
              <a:gd name="T97" fmla="*/ 2730 h 4368"/>
              <a:gd name="T98" fmla="*/ 12878 w 15363"/>
              <a:gd name="T99" fmla="*/ 4368 h 4368"/>
              <a:gd name="T100" fmla="*/ 12878 w 15363"/>
              <a:gd name="T101" fmla="*/ 2184 h 4368"/>
              <a:gd name="T102" fmla="*/ 12878 w 15363"/>
              <a:gd name="T103" fmla="*/ 0 h 4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363" h="4368">
                <a:moveTo>
                  <a:pt x="13000" y="0"/>
                </a:moveTo>
                <a:lnTo>
                  <a:pt x="13019" y="0"/>
                </a:lnTo>
                <a:lnTo>
                  <a:pt x="13311" y="546"/>
                </a:lnTo>
                <a:lnTo>
                  <a:pt x="13604" y="1092"/>
                </a:lnTo>
                <a:lnTo>
                  <a:pt x="13897" y="1638"/>
                </a:lnTo>
                <a:lnTo>
                  <a:pt x="14190" y="2184"/>
                </a:lnTo>
                <a:lnTo>
                  <a:pt x="14483" y="2730"/>
                </a:lnTo>
                <a:lnTo>
                  <a:pt x="14776" y="3276"/>
                </a:lnTo>
                <a:lnTo>
                  <a:pt x="15070" y="3822"/>
                </a:lnTo>
                <a:lnTo>
                  <a:pt x="15363" y="4368"/>
                </a:lnTo>
                <a:lnTo>
                  <a:pt x="15345" y="4368"/>
                </a:lnTo>
                <a:lnTo>
                  <a:pt x="15051" y="3822"/>
                </a:lnTo>
                <a:lnTo>
                  <a:pt x="14758" y="3276"/>
                </a:lnTo>
                <a:lnTo>
                  <a:pt x="14464" y="2730"/>
                </a:lnTo>
                <a:lnTo>
                  <a:pt x="14172" y="2184"/>
                </a:lnTo>
                <a:lnTo>
                  <a:pt x="13879" y="1638"/>
                </a:lnTo>
                <a:lnTo>
                  <a:pt x="13586" y="1092"/>
                </a:lnTo>
                <a:lnTo>
                  <a:pt x="13293" y="546"/>
                </a:lnTo>
                <a:lnTo>
                  <a:pt x="13000" y="0"/>
                </a:lnTo>
                <a:close/>
                <a:moveTo>
                  <a:pt x="0" y="0"/>
                </a:moveTo>
                <a:lnTo>
                  <a:pt x="18" y="0"/>
                </a:lnTo>
                <a:lnTo>
                  <a:pt x="311" y="546"/>
                </a:lnTo>
                <a:lnTo>
                  <a:pt x="604" y="1092"/>
                </a:lnTo>
                <a:lnTo>
                  <a:pt x="897" y="1638"/>
                </a:lnTo>
                <a:lnTo>
                  <a:pt x="1190" y="2184"/>
                </a:lnTo>
                <a:lnTo>
                  <a:pt x="1482" y="2730"/>
                </a:lnTo>
                <a:lnTo>
                  <a:pt x="1776" y="3276"/>
                </a:lnTo>
                <a:lnTo>
                  <a:pt x="2069" y="3822"/>
                </a:lnTo>
                <a:lnTo>
                  <a:pt x="2363" y="4368"/>
                </a:lnTo>
                <a:lnTo>
                  <a:pt x="2344" y="4368"/>
                </a:lnTo>
                <a:lnTo>
                  <a:pt x="2051" y="3822"/>
                </a:lnTo>
                <a:lnTo>
                  <a:pt x="1758" y="3276"/>
                </a:lnTo>
                <a:lnTo>
                  <a:pt x="1464" y="2730"/>
                </a:lnTo>
                <a:lnTo>
                  <a:pt x="1172" y="2184"/>
                </a:lnTo>
                <a:lnTo>
                  <a:pt x="878" y="1638"/>
                </a:lnTo>
                <a:lnTo>
                  <a:pt x="586" y="1092"/>
                </a:lnTo>
                <a:lnTo>
                  <a:pt x="292" y="546"/>
                </a:lnTo>
                <a:lnTo>
                  <a:pt x="0" y="0"/>
                </a:lnTo>
                <a:close/>
                <a:moveTo>
                  <a:pt x="2494" y="0"/>
                </a:moveTo>
                <a:lnTo>
                  <a:pt x="2494" y="546"/>
                </a:lnTo>
                <a:lnTo>
                  <a:pt x="2494" y="1092"/>
                </a:lnTo>
                <a:lnTo>
                  <a:pt x="2494" y="1638"/>
                </a:lnTo>
                <a:lnTo>
                  <a:pt x="2494" y="2184"/>
                </a:lnTo>
                <a:lnTo>
                  <a:pt x="2494" y="2730"/>
                </a:lnTo>
                <a:lnTo>
                  <a:pt x="2494" y="3276"/>
                </a:lnTo>
                <a:lnTo>
                  <a:pt x="2494" y="3822"/>
                </a:lnTo>
                <a:lnTo>
                  <a:pt x="2494" y="4368"/>
                </a:lnTo>
                <a:lnTo>
                  <a:pt x="2478" y="4368"/>
                </a:lnTo>
                <a:lnTo>
                  <a:pt x="2478" y="3822"/>
                </a:lnTo>
                <a:lnTo>
                  <a:pt x="2478" y="3276"/>
                </a:lnTo>
                <a:lnTo>
                  <a:pt x="2478" y="2730"/>
                </a:lnTo>
                <a:lnTo>
                  <a:pt x="2478" y="2184"/>
                </a:lnTo>
                <a:lnTo>
                  <a:pt x="2478" y="1638"/>
                </a:lnTo>
                <a:lnTo>
                  <a:pt x="2478" y="1092"/>
                </a:lnTo>
                <a:lnTo>
                  <a:pt x="2478" y="546"/>
                </a:lnTo>
                <a:lnTo>
                  <a:pt x="2478" y="0"/>
                </a:lnTo>
                <a:lnTo>
                  <a:pt x="2494" y="0"/>
                </a:lnTo>
                <a:close/>
                <a:moveTo>
                  <a:pt x="2600" y="0"/>
                </a:moveTo>
                <a:lnTo>
                  <a:pt x="2619" y="0"/>
                </a:lnTo>
                <a:lnTo>
                  <a:pt x="2911" y="546"/>
                </a:lnTo>
                <a:lnTo>
                  <a:pt x="3205" y="1092"/>
                </a:lnTo>
                <a:lnTo>
                  <a:pt x="3497" y="1638"/>
                </a:lnTo>
                <a:lnTo>
                  <a:pt x="3790" y="2184"/>
                </a:lnTo>
                <a:lnTo>
                  <a:pt x="4083" y="2730"/>
                </a:lnTo>
                <a:lnTo>
                  <a:pt x="4376" y="3276"/>
                </a:lnTo>
                <a:lnTo>
                  <a:pt x="4670" y="3822"/>
                </a:lnTo>
                <a:lnTo>
                  <a:pt x="4963" y="4368"/>
                </a:lnTo>
                <a:lnTo>
                  <a:pt x="4945" y="4368"/>
                </a:lnTo>
                <a:lnTo>
                  <a:pt x="4651" y="3822"/>
                </a:lnTo>
                <a:lnTo>
                  <a:pt x="4358" y="3276"/>
                </a:lnTo>
                <a:lnTo>
                  <a:pt x="4065" y="2730"/>
                </a:lnTo>
                <a:lnTo>
                  <a:pt x="3772" y="2184"/>
                </a:lnTo>
                <a:lnTo>
                  <a:pt x="3479" y="1638"/>
                </a:lnTo>
                <a:lnTo>
                  <a:pt x="3186" y="1092"/>
                </a:lnTo>
                <a:lnTo>
                  <a:pt x="2893" y="546"/>
                </a:lnTo>
                <a:lnTo>
                  <a:pt x="2600" y="0"/>
                </a:lnTo>
                <a:close/>
                <a:moveTo>
                  <a:pt x="5094" y="0"/>
                </a:moveTo>
                <a:lnTo>
                  <a:pt x="5094" y="546"/>
                </a:lnTo>
                <a:lnTo>
                  <a:pt x="5094" y="1092"/>
                </a:lnTo>
                <a:lnTo>
                  <a:pt x="5094" y="1638"/>
                </a:lnTo>
                <a:lnTo>
                  <a:pt x="5094" y="2184"/>
                </a:lnTo>
                <a:lnTo>
                  <a:pt x="5094" y="2730"/>
                </a:lnTo>
                <a:lnTo>
                  <a:pt x="5094" y="3276"/>
                </a:lnTo>
                <a:lnTo>
                  <a:pt x="5094" y="3822"/>
                </a:lnTo>
                <a:lnTo>
                  <a:pt x="5094" y="4368"/>
                </a:lnTo>
                <a:lnTo>
                  <a:pt x="5077" y="4368"/>
                </a:lnTo>
                <a:lnTo>
                  <a:pt x="5077" y="3822"/>
                </a:lnTo>
                <a:lnTo>
                  <a:pt x="5077" y="3276"/>
                </a:lnTo>
                <a:lnTo>
                  <a:pt x="5077" y="2730"/>
                </a:lnTo>
                <a:lnTo>
                  <a:pt x="5077" y="2184"/>
                </a:lnTo>
                <a:lnTo>
                  <a:pt x="5077" y="1638"/>
                </a:lnTo>
                <a:lnTo>
                  <a:pt x="5077" y="1092"/>
                </a:lnTo>
                <a:lnTo>
                  <a:pt x="5077" y="546"/>
                </a:lnTo>
                <a:lnTo>
                  <a:pt x="5077" y="0"/>
                </a:lnTo>
                <a:lnTo>
                  <a:pt x="5094" y="0"/>
                </a:lnTo>
                <a:close/>
                <a:moveTo>
                  <a:pt x="5200" y="0"/>
                </a:moveTo>
                <a:lnTo>
                  <a:pt x="5218" y="0"/>
                </a:lnTo>
                <a:lnTo>
                  <a:pt x="5511" y="546"/>
                </a:lnTo>
                <a:lnTo>
                  <a:pt x="5804" y="1092"/>
                </a:lnTo>
                <a:lnTo>
                  <a:pt x="6096" y="1638"/>
                </a:lnTo>
                <a:lnTo>
                  <a:pt x="6390" y="2184"/>
                </a:lnTo>
                <a:lnTo>
                  <a:pt x="6682" y="2730"/>
                </a:lnTo>
                <a:lnTo>
                  <a:pt x="6976" y="3276"/>
                </a:lnTo>
                <a:lnTo>
                  <a:pt x="7269" y="3822"/>
                </a:lnTo>
                <a:lnTo>
                  <a:pt x="7563" y="4368"/>
                </a:lnTo>
                <a:lnTo>
                  <a:pt x="7544" y="4368"/>
                </a:lnTo>
                <a:lnTo>
                  <a:pt x="7251" y="3822"/>
                </a:lnTo>
                <a:lnTo>
                  <a:pt x="6958" y="3276"/>
                </a:lnTo>
                <a:lnTo>
                  <a:pt x="6664" y="2730"/>
                </a:lnTo>
                <a:lnTo>
                  <a:pt x="6372" y="2184"/>
                </a:lnTo>
                <a:lnTo>
                  <a:pt x="6078" y="1638"/>
                </a:lnTo>
                <a:lnTo>
                  <a:pt x="5786" y="1092"/>
                </a:lnTo>
                <a:lnTo>
                  <a:pt x="5492" y="546"/>
                </a:lnTo>
                <a:lnTo>
                  <a:pt x="5200" y="0"/>
                </a:lnTo>
                <a:close/>
                <a:moveTo>
                  <a:pt x="7694" y="0"/>
                </a:moveTo>
                <a:lnTo>
                  <a:pt x="7694" y="546"/>
                </a:lnTo>
                <a:lnTo>
                  <a:pt x="7694" y="1092"/>
                </a:lnTo>
                <a:lnTo>
                  <a:pt x="7694" y="1638"/>
                </a:lnTo>
                <a:lnTo>
                  <a:pt x="7694" y="2184"/>
                </a:lnTo>
                <a:lnTo>
                  <a:pt x="7694" y="2730"/>
                </a:lnTo>
                <a:lnTo>
                  <a:pt x="7694" y="3276"/>
                </a:lnTo>
                <a:lnTo>
                  <a:pt x="7694" y="3822"/>
                </a:lnTo>
                <a:lnTo>
                  <a:pt x="7694" y="4368"/>
                </a:lnTo>
                <a:lnTo>
                  <a:pt x="7678" y="4368"/>
                </a:lnTo>
                <a:lnTo>
                  <a:pt x="7678" y="3822"/>
                </a:lnTo>
                <a:lnTo>
                  <a:pt x="7678" y="3276"/>
                </a:lnTo>
                <a:lnTo>
                  <a:pt x="7678" y="2730"/>
                </a:lnTo>
                <a:lnTo>
                  <a:pt x="7678" y="2184"/>
                </a:lnTo>
                <a:lnTo>
                  <a:pt x="7678" y="1638"/>
                </a:lnTo>
                <a:lnTo>
                  <a:pt x="7678" y="1092"/>
                </a:lnTo>
                <a:lnTo>
                  <a:pt x="7678" y="546"/>
                </a:lnTo>
                <a:lnTo>
                  <a:pt x="7678" y="0"/>
                </a:lnTo>
                <a:lnTo>
                  <a:pt x="7694" y="0"/>
                </a:lnTo>
                <a:close/>
                <a:moveTo>
                  <a:pt x="7800" y="0"/>
                </a:moveTo>
                <a:lnTo>
                  <a:pt x="7819" y="0"/>
                </a:lnTo>
                <a:lnTo>
                  <a:pt x="8111" y="546"/>
                </a:lnTo>
                <a:lnTo>
                  <a:pt x="8404" y="1092"/>
                </a:lnTo>
                <a:lnTo>
                  <a:pt x="8697" y="1638"/>
                </a:lnTo>
                <a:lnTo>
                  <a:pt x="8990" y="2184"/>
                </a:lnTo>
                <a:lnTo>
                  <a:pt x="9283" y="2730"/>
                </a:lnTo>
                <a:lnTo>
                  <a:pt x="9576" y="3276"/>
                </a:lnTo>
                <a:lnTo>
                  <a:pt x="9870" y="3822"/>
                </a:lnTo>
                <a:lnTo>
                  <a:pt x="10163" y="4368"/>
                </a:lnTo>
                <a:lnTo>
                  <a:pt x="10145" y="4368"/>
                </a:lnTo>
                <a:lnTo>
                  <a:pt x="9851" y="3822"/>
                </a:lnTo>
                <a:lnTo>
                  <a:pt x="9558" y="3276"/>
                </a:lnTo>
                <a:lnTo>
                  <a:pt x="9265" y="2730"/>
                </a:lnTo>
                <a:lnTo>
                  <a:pt x="8972" y="2184"/>
                </a:lnTo>
                <a:lnTo>
                  <a:pt x="8679" y="1638"/>
                </a:lnTo>
                <a:lnTo>
                  <a:pt x="8386" y="1092"/>
                </a:lnTo>
                <a:lnTo>
                  <a:pt x="8093" y="546"/>
                </a:lnTo>
                <a:lnTo>
                  <a:pt x="7800" y="0"/>
                </a:lnTo>
                <a:close/>
                <a:moveTo>
                  <a:pt x="10295" y="0"/>
                </a:moveTo>
                <a:lnTo>
                  <a:pt x="10295" y="546"/>
                </a:lnTo>
                <a:lnTo>
                  <a:pt x="10295" y="1092"/>
                </a:lnTo>
                <a:lnTo>
                  <a:pt x="10295" y="1638"/>
                </a:lnTo>
                <a:lnTo>
                  <a:pt x="10295" y="2184"/>
                </a:lnTo>
                <a:lnTo>
                  <a:pt x="10295" y="2730"/>
                </a:lnTo>
                <a:lnTo>
                  <a:pt x="10295" y="3276"/>
                </a:lnTo>
                <a:lnTo>
                  <a:pt x="10295" y="3822"/>
                </a:lnTo>
                <a:lnTo>
                  <a:pt x="10295" y="4368"/>
                </a:lnTo>
                <a:lnTo>
                  <a:pt x="10278" y="4368"/>
                </a:lnTo>
                <a:lnTo>
                  <a:pt x="10278" y="3822"/>
                </a:lnTo>
                <a:lnTo>
                  <a:pt x="10278" y="3276"/>
                </a:lnTo>
                <a:lnTo>
                  <a:pt x="10278" y="2730"/>
                </a:lnTo>
                <a:lnTo>
                  <a:pt x="10278" y="2184"/>
                </a:lnTo>
                <a:lnTo>
                  <a:pt x="10278" y="1638"/>
                </a:lnTo>
                <a:lnTo>
                  <a:pt x="10278" y="1092"/>
                </a:lnTo>
                <a:lnTo>
                  <a:pt x="10278" y="546"/>
                </a:lnTo>
                <a:lnTo>
                  <a:pt x="10278" y="0"/>
                </a:lnTo>
                <a:lnTo>
                  <a:pt x="10295" y="0"/>
                </a:lnTo>
                <a:close/>
                <a:moveTo>
                  <a:pt x="10400" y="0"/>
                </a:moveTo>
                <a:lnTo>
                  <a:pt x="10419" y="0"/>
                </a:lnTo>
                <a:lnTo>
                  <a:pt x="10711" y="546"/>
                </a:lnTo>
                <a:lnTo>
                  <a:pt x="11005" y="1092"/>
                </a:lnTo>
                <a:lnTo>
                  <a:pt x="11297" y="1638"/>
                </a:lnTo>
                <a:lnTo>
                  <a:pt x="11591" y="2184"/>
                </a:lnTo>
                <a:lnTo>
                  <a:pt x="11883" y="2730"/>
                </a:lnTo>
                <a:lnTo>
                  <a:pt x="12177" y="3276"/>
                </a:lnTo>
                <a:lnTo>
                  <a:pt x="12470" y="3822"/>
                </a:lnTo>
                <a:lnTo>
                  <a:pt x="12764" y="4368"/>
                </a:lnTo>
                <a:lnTo>
                  <a:pt x="12745" y="4368"/>
                </a:lnTo>
                <a:lnTo>
                  <a:pt x="12452" y="3822"/>
                </a:lnTo>
                <a:lnTo>
                  <a:pt x="12158" y="3276"/>
                </a:lnTo>
                <a:lnTo>
                  <a:pt x="11865" y="2730"/>
                </a:lnTo>
                <a:lnTo>
                  <a:pt x="11573" y="2184"/>
                </a:lnTo>
                <a:lnTo>
                  <a:pt x="11279" y="1638"/>
                </a:lnTo>
                <a:lnTo>
                  <a:pt x="10986" y="1092"/>
                </a:lnTo>
                <a:lnTo>
                  <a:pt x="10692" y="546"/>
                </a:lnTo>
                <a:lnTo>
                  <a:pt x="10400" y="0"/>
                </a:lnTo>
                <a:close/>
                <a:moveTo>
                  <a:pt x="12894" y="0"/>
                </a:moveTo>
                <a:lnTo>
                  <a:pt x="12894" y="546"/>
                </a:lnTo>
                <a:lnTo>
                  <a:pt x="12894" y="1092"/>
                </a:lnTo>
                <a:lnTo>
                  <a:pt x="12894" y="1638"/>
                </a:lnTo>
                <a:lnTo>
                  <a:pt x="12894" y="2184"/>
                </a:lnTo>
                <a:lnTo>
                  <a:pt x="12894" y="2730"/>
                </a:lnTo>
                <a:lnTo>
                  <a:pt x="12894" y="3276"/>
                </a:lnTo>
                <a:lnTo>
                  <a:pt x="12894" y="3822"/>
                </a:lnTo>
                <a:lnTo>
                  <a:pt x="12894" y="4368"/>
                </a:lnTo>
                <a:lnTo>
                  <a:pt x="12878" y="4368"/>
                </a:lnTo>
                <a:lnTo>
                  <a:pt x="12878" y="3822"/>
                </a:lnTo>
                <a:lnTo>
                  <a:pt x="12878" y="3276"/>
                </a:lnTo>
                <a:lnTo>
                  <a:pt x="12878" y="2730"/>
                </a:lnTo>
                <a:lnTo>
                  <a:pt x="12878" y="2184"/>
                </a:lnTo>
                <a:lnTo>
                  <a:pt x="12878" y="1638"/>
                </a:lnTo>
                <a:lnTo>
                  <a:pt x="12878" y="1092"/>
                </a:lnTo>
                <a:lnTo>
                  <a:pt x="12878" y="546"/>
                </a:lnTo>
                <a:lnTo>
                  <a:pt x="12878" y="0"/>
                </a:lnTo>
                <a:lnTo>
                  <a:pt x="12894" y="0"/>
                </a:lnTo>
                <a:close/>
              </a:path>
            </a:pathLst>
          </a:custGeom>
          <a:solidFill>
            <a:srgbClr val="B1059D">
              <a:alpha val="40000"/>
            </a:srgb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D6F0E76-BD55-1644-A91E-C3F10C4FD492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28F3D3ED-084A-683E-A7DE-D5EF0A636F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307" y="4699653"/>
            <a:ext cx="9214625" cy="626701"/>
          </a:xfrm>
        </p:spPr>
        <p:txBody>
          <a:bodyPr wrap="square" anchor="ctr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3599">
                <a:solidFill>
                  <a:schemeClr val="bg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ation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E000B63-8BE6-C4A9-766D-635B8B038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1295124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BC9F7F74-17D9-8A7D-0C6A-6679EEC8A6B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324796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F0F5522-E427-4A11-A303-E1DA910ED41B}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E68D191-029C-4CE3-9A34-23EBABAE79FE}"/>
              </a:ext>
            </a:extLst>
          </p:cNvPr>
          <p:cNvSpPr>
            <a:spLocks/>
          </p:cNvSpPr>
          <p:nvPr/>
        </p:nvSpPr>
        <p:spPr bwMode="auto">
          <a:xfrm>
            <a:off x="0" y="3429000"/>
            <a:ext cx="12192000" cy="3429000"/>
          </a:xfrm>
          <a:custGeom>
            <a:avLst/>
            <a:gdLst>
              <a:gd name="T0" fmla="*/ 14896 w 15364"/>
              <a:gd name="T1" fmla="*/ 777 h 6468"/>
              <a:gd name="T2" fmla="*/ 14528 w 15364"/>
              <a:gd name="T3" fmla="*/ 3108 h 6468"/>
              <a:gd name="T4" fmla="*/ 14160 w 15364"/>
              <a:gd name="T5" fmla="*/ 5439 h 6468"/>
              <a:gd name="T6" fmla="*/ 13789 w 15364"/>
              <a:gd name="T7" fmla="*/ 4662 h 6468"/>
              <a:gd name="T8" fmla="*/ 13414 w 15364"/>
              <a:gd name="T9" fmla="*/ 2331 h 6468"/>
              <a:gd name="T10" fmla="*/ 13042 w 15364"/>
              <a:gd name="T11" fmla="*/ 0 h 6468"/>
              <a:gd name="T12" fmla="*/ 11397 w 15364"/>
              <a:gd name="T13" fmla="*/ 777 h 6468"/>
              <a:gd name="T14" fmla="*/ 11029 w 15364"/>
              <a:gd name="T15" fmla="*/ 3108 h 6468"/>
              <a:gd name="T16" fmla="*/ 10660 w 15364"/>
              <a:gd name="T17" fmla="*/ 5439 h 6468"/>
              <a:gd name="T18" fmla="*/ 10289 w 15364"/>
              <a:gd name="T19" fmla="*/ 4662 h 6468"/>
              <a:gd name="T20" fmla="*/ 9916 w 15364"/>
              <a:gd name="T21" fmla="*/ 2331 h 6468"/>
              <a:gd name="T22" fmla="*/ 9543 w 15364"/>
              <a:gd name="T23" fmla="*/ 0 h 6468"/>
              <a:gd name="T24" fmla="*/ 7897 w 15364"/>
              <a:gd name="T25" fmla="*/ 777 h 6468"/>
              <a:gd name="T26" fmla="*/ 7529 w 15364"/>
              <a:gd name="T27" fmla="*/ 3108 h 6468"/>
              <a:gd name="T28" fmla="*/ 7161 w 15364"/>
              <a:gd name="T29" fmla="*/ 5439 h 6468"/>
              <a:gd name="T30" fmla="*/ 6790 w 15364"/>
              <a:gd name="T31" fmla="*/ 4662 h 6468"/>
              <a:gd name="T32" fmla="*/ 6417 w 15364"/>
              <a:gd name="T33" fmla="*/ 2331 h 6468"/>
              <a:gd name="T34" fmla="*/ 6045 w 15364"/>
              <a:gd name="T35" fmla="*/ 0 h 6468"/>
              <a:gd name="T36" fmla="*/ 4398 w 15364"/>
              <a:gd name="T37" fmla="*/ 777 h 6468"/>
              <a:gd name="T38" fmla="*/ 4030 w 15364"/>
              <a:gd name="T39" fmla="*/ 3108 h 6468"/>
              <a:gd name="T40" fmla="*/ 3661 w 15364"/>
              <a:gd name="T41" fmla="*/ 5439 h 6468"/>
              <a:gd name="T42" fmla="*/ 3290 w 15364"/>
              <a:gd name="T43" fmla="*/ 4662 h 6468"/>
              <a:gd name="T44" fmla="*/ 2917 w 15364"/>
              <a:gd name="T45" fmla="*/ 2331 h 6468"/>
              <a:gd name="T46" fmla="*/ 2545 w 15364"/>
              <a:gd name="T47" fmla="*/ 0 h 6468"/>
              <a:gd name="T48" fmla="*/ 894 w 15364"/>
              <a:gd name="T49" fmla="*/ 809 h 6468"/>
              <a:gd name="T50" fmla="*/ 511 w 15364"/>
              <a:gd name="T51" fmla="*/ 3234 h 6468"/>
              <a:gd name="T52" fmla="*/ 127 w 15364"/>
              <a:gd name="T53" fmla="*/ 5660 h 6468"/>
              <a:gd name="T54" fmla="*/ 801 w 15364"/>
              <a:gd name="T55" fmla="*/ 6468 h 6468"/>
              <a:gd name="T56" fmla="*/ 1169 w 15364"/>
              <a:gd name="T57" fmla="*/ 4137 h 6468"/>
              <a:gd name="T58" fmla="*/ 1537 w 15364"/>
              <a:gd name="T59" fmla="*/ 1806 h 6468"/>
              <a:gd name="T60" fmla="*/ 1907 w 15364"/>
              <a:gd name="T61" fmla="*/ 1029 h 6468"/>
              <a:gd name="T62" fmla="*/ 2281 w 15364"/>
              <a:gd name="T63" fmla="*/ 3360 h 6468"/>
              <a:gd name="T64" fmla="*/ 2653 w 15364"/>
              <a:gd name="T65" fmla="*/ 5691 h 6468"/>
              <a:gd name="T66" fmla="*/ 4301 w 15364"/>
              <a:gd name="T67" fmla="*/ 6468 h 6468"/>
              <a:gd name="T68" fmla="*/ 4668 w 15364"/>
              <a:gd name="T69" fmla="*/ 4137 h 6468"/>
              <a:gd name="T70" fmla="*/ 5036 w 15364"/>
              <a:gd name="T71" fmla="*/ 1806 h 6468"/>
              <a:gd name="T72" fmla="*/ 5406 w 15364"/>
              <a:gd name="T73" fmla="*/ 1029 h 6468"/>
              <a:gd name="T74" fmla="*/ 5780 w 15364"/>
              <a:gd name="T75" fmla="*/ 3360 h 6468"/>
              <a:gd name="T76" fmla="*/ 6152 w 15364"/>
              <a:gd name="T77" fmla="*/ 5691 h 6468"/>
              <a:gd name="T78" fmla="*/ 7800 w 15364"/>
              <a:gd name="T79" fmla="*/ 6468 h 6468"/>
              <a:gd name="T80" fmla="*/ 8168 w 15364"/>
              <a:gd name="T81" fmla="*/ 4137 h 6468"/>
              <a:gd name="T82" fmla="*/ 8536 w 15364"/>
              <a:gd name="T83" fmla="*/ 1806 h 6468"/>
              <a:gd name="T84" fmla="*/ 8906 w 15364"/>
              <a:gd name="T85" fmla="*/ 1029 h 6468"/>
              <a:gd name="T86" fmla="*/ 9279 w 15364"/>
              <a:gd name="T87" fmla="*/ 3360 h 6468"/>
              <a:gd name="T88" fmla="*/ 9652 w 15364"/>
              <a:gd name="T89" fmla="*/ 5691 h 6468"/>
              <a:gd name="T90" fmla="*/ 11299 w 15364"/>
              <a:gd name="T91" fmla="*/ 6468 h 6468"/>
              <a:gd name="T92" fmla="*/ 11667 w 15364"/>
              <a:gd name="T93" fmla="*/ 4137 h 6468"/>
              <a:gd name="T94" fmla="*/ 12035 w 15364"/>
              <a:gd name="T95" fmla="*/ 1806 h 6468"/>
              <a:gd name="T96" fmla="*/ 12405 w 15364"/>
              <a:gd name="T97" fmla="*/ 1029 h 6468"/>
              <a:gd name="T98" fmla="*/ 12778 w 15364"/>
              <a:gd name="T99" fmla="*/ 3360 h 6468"/>
              <a:gd name="T100" fmla="*/ 13150 w 15364"/>
              <a:gd name="T101" fmla="*/ 5691 h 6468"/>
              <a:gd name="T102" fmla="*/ 14799 w 15364"/>
              <a:gd name="T103" fmla="*/ 6468 h 6468"/>
              <a:gd name="T104" fmla="*/ 15222 w 15364"/>
              <a:gd name="T105" fmla="*/ 3783 h 6468"/>
              <a:gd name="T106" fmla="*/ 15364 w 15364"/>
              <a:gd name="T107" fmla="*/ 1445 h 6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364" h="6468">
                <a:moveTo>
                  <a:pt x="15364" y="0"/>
                </a:moveTo>
                <a:lnTo>
                  <a:pt x="15019" y="0"/>
                </a:lnTo>
                <a:lnTo>
                  <a:pt x="14896" y="777"/>
                </a:lnTo>
                <a:lnTo>
                  <a:pt x="14773" y="1554"/>
                </a:lnTo>
                <a:lnTo>
                  <a:pt x="14650" y="2331"/>
                </a:lnTo>
                <a:lnTo>
                  <a:pt x="14528" y="3108"/>
                </a:lnTo>
                <a:lnTo>
                  <a:pt x="14405" y="3885"/>
                </a:lnTo>
                <a:lnTo>
                  <a:pt x="14283" y="4662"/>
                </a:lnTo>
                <a:lnTo>
                  <a:pt x="14160" y="5439"/>
                </a:lnTo>
                <a:lnTo>
                  <a:pt x="14038" y="6216"/>
                </a:lnTo>
                <a:lnTo>
                  <a:pt x="13913" y="5439"/>
                </a:lnTo>
                <a:lnTo>
                  <a:pt x="13789" y="4662"/>
                </a:lnTo>
                <a:lnTo>
                  <a:pt x="13664" y="3885"/>
                </a:lnTo>
                <a:lnTo>
                  <a:pt x="13540" y="3108"/>
                </a:lnTo>
                <a:lnTo>
                  <a:pt x="13414" y="2331"/>
                </a:lnTo>
                <a:lnTo>
                  <a:pt x="13290" y="1554"/>
                </a:lnTo>
                <a:lnTo>
                  <a:pt x="13166" y="777"/>
                </a:lnTo>
                <a:lnTo>
                  <a:pt x="13042" y="0"/>
                </a:lnTo>
                <a:lnTo>
                  <a:pt x="12281" y="0"/>
                </a:lnTo>
                <a:lnTo>
                  <a:pt x="11520" y="0"/>
                </a:lnTo>
                <a:lnTo>
                  <a:pt x="11397" y="777"/>
                </a:lnTo>
                <a:lnTo>
                  <a:pt x="11274" y="1554"/>
                </a:lnTo>
                <a:lnTo>
                  <a:pt x="11151" y="2331"/>
                </a:lnTo>
                <a:lnTo>
                  <a:pt x="11029" y="3108"/>
                </a:lnTo>
                <a:lnTo>
                  <a:pt x="10906" y="3885"/>
                </a:lnTo>
                <a:lnTo>
                  <a:pt x="10783" y="4662"/>
                </a:lnTo>
                <a:lnTo>
                  <a:pt x="10660" y="5439"/>
                </a:lnTo>
                <a:lnTo>
                  <a:pt x="10538" y="6216"/>
                </a:lnTo>
                <a:lnTo>
                  <a:pt x="10413" y="5439"/>
                </a:lnTo>
                <a:lnTo>
                  <a:pt x="10289" y="4662"/>
                </a:lnTo>
                <a:lnTo>
                  <a:pt x="10165" y="3885"/>
                </a:lnTo>
                <a:lnTo>
                  <a:pt x="10041" y="3108"/>
                </a:lnTo>
                <a:lnTo>
                  <a:pt x="9916" y="2331"/>
                </a:lnTo>
                <a:lnTo>
                  <a:pt x="9792" y="1554"/>
                </a:lnTo>
                <a:lnTo>
                  <a:pt x="9668" y="777"/>
                </a:lnTo>
                <a:lnTo>
                  <a:pt x="9543" y="0"/>
                </a:lnTo>
                <a:lnTo>
                  <a:pt x="8781" y="0"/>
                </a:lnTo>
                <a:lnTo>
                  <a:pt x="8020" y="0"/>
                </a:lnTo>
                <a:lnTo>
                  <a:pt x="7897" y="777"/>
                </a:lnTo>
                <a:lnTo>
                  <a:pt x="7774" y="1554"/>
                </a:lnTo>
                <a:lnTo>
                  <a:pt x="7651" y="2331"/>
                </a:lnTo>
                <a:lnTo>
                  <a:pt x="7529" y="3108"/>
                </a:lnTo>
                <a:lnTo>
                  <a:pt x="7406" y="3885"/>
                </a:lnTo>
                <a:lnTo>
                  <a:pt x="7284" y="4662"/>
                </a:lnTo>
                <a:lnTo>
                  <a:pt x="7161" y="5439"/>
                </a:lnTo>
                <a:lnTo>
                  <a:pt x="7039" y="6216"/>
                </a:lnTo>
                <a:lnTo>
                  <a:pt x="6914" y="5439"/>
                </a:lnTo>
                <a:lnTo>
                  <a:pt x="6790" y="4662"/>
                </a:lnTo>
                <a:lnTo>
                  <a:pt x="6666" y="3885"/>
                </a:lnTo>
                <a:lnTo>
                  <a:pt x="6542" y="3108"/>
                </a:lnTo>
                <a:lnTo>
                  <a:pt x="6417" y="2331"/>
                </a:lnTo>
                <a:lnTo>
                  <a:pt x="6293" y="1554"/>
                </a:lnTo>
                <a:lnTo>
                  <a:pt x="6169" y="777"/>
                </a:lnTo>
                <a:lnTo>
                  <a:pt x="6045" y="0"/>
                </a:lnTo>
                <a:lnTo>
                  <a:pt x="5282" y="0"/>
                </a:lnTo>
                <a:lnTo>
                  <a:pt x="4521" y="0"/>
                </a:lnTo>
                <a:lnTo>
                  <a:pt x="4398" y="777"/>
                </a:lnTo>
                <a:lnTo>
                  <a:pt x="4275" y="1554"/>
                </a:lnTo>
                <a:lnTo>
                  <a:pt x="4152" y="2331"/>
                </a:lnTo>
                <a:lnTo>
                  <a:pt x="4030" y="3108"/>
                </a:lnTo>
                <a:lnTo>
                  <a:pt x="3907" y="3885"/>
                </a:lnTo>
                <a:lnTo>
                  <a:pt x="3784" y="4662"/>
                </a:lnTo>
                <a:lnTo>
                  <a:pt x="3661" y="5439"/>
                </a:lnTo>
                <a:lnTo>
                  <a:pt x="3539" y="6216"/>
                </a:lnTo>
                <a:lnTo>
                  <a:pt x="3414" y="5439"/>
                </a:lnTo>
                <a:lnTo>
                  <a:pt x="3290" y="4662"/>
                </a:lnTo>
                <a:lnTo>
                  <a:pt x="3166" y="3885"/>
                </a:lnTo>
                <a:lnTo>
                  <a:pt x="3042" y="3108"/>
                </a:lnTo>
                <a:lnTo>
                  <a:pt x="2917" y="2331"/>
                </a:lnTo>
                <a:lnTo>
                  <a:pt x="2793" y="1554"/>
                </a:lnTo>
                <a:lnTo>
                  <a:pt x="2669" y="777"/>
                </a:lnTo>
                <a:lnTo>
                  <a:pt x="2545" y="0"/>
                </a:lnTo>
                <a:lnTo>
                  <a:pt x="1783" y="0"/>
                </a:lnTo>
                <a:lnTo>
                  <a:pt x="1022" y="0"/>
                </a:lnTo>
                <a:lnTo>
                  <a:pt x="894" y="809"/>
                </a:lnTo>
                <a:lnTo>
                  <a:pt x="766" y="1617"/>
                </a:lnTo>
                <a:lnTo>
                  <a:pt x="638" y="2426"/>
                </a:lnTo>
                <a:lnTo>
                  <a:pt x="511" y="3234"/>
                </a:lnTo>
                <a:lnTo>
                  <a:pt x="383" y="4043"/>
                </a:lnTo>
                <a:lnTo>
                  <a:pt x="255" y="4851"/>
                </a:lnTo>
                <a:lnTo>
                  <a:pt x="127" y="5660"/>
                </a:lnTo>
                <a:lnTo>
                  <a:pt x="0" y="6468"/>
                </a:lnTo>
                <a:lnTo>
                  <a:pt x="400" y="6468"/>
                </a:lnTo>
                <a:lnTo>
                  <a:pt x="801" y="6468"/>
                </a:lnTo>
                <a:lnTo>
                  <a:pt x="923" y="5691"/>
                </a:lnTo>
                <a:lnTo>
                  <a:pt x="1046" y="4914"/>
                </a:lnTo>
                <a:lnTo>
                  <a:pt x="1169" y="4137"/>
                </a:lnTo>
                <a:lnTo>
                  <a:pt x="1292" y="3360"/>
                </a:lnTo>
                <a:lnTo>
                  <a:pt x="1414" y="2583"/>
                </a:lnTo>
                <a:lnTo>
                  <a:pt x="1537" y="1806"/>
                </a:lnTo>
                <a:lnTo>
                  <a:pt x="1660" y="1029"/>
                </a:lnTo>
                <a:lnTo>
                  <a:pt x="1783" y="252"/>
                </a:lnTo>
                <a:lnTo>
                  <a:pt x="1907" y="1029"/>
                </a:lnTo>
                <a:lnTo>
                  <a:pt x="2032" y="1806"/>
                </a:lnTo>
                <a:lnTo>
                  <a:pt x="2156" y="2583"/>
                </a:lnTo>
                <a:lnTo>
                  <a:pt x="2281" y="3360"/>
                </a:lnTo>
                <a:lnTo>
                  <a:pt x="2405" y="4137"/>
                </a:lnTo>
                <a:lnTo>
                  <a:pt x="2529" y="4914"/>
                </a:lnTo>
                <a:lnTo>
                  <a:pt x="2653" y="5691"/>
                </a:lnTo>
                <a:lnTo>
                  <a:pt x="2778" y="6468"/>
                </a:lnTo>
                <a:lnTo>
                  <a:pt x="3539" y="6468"/>
                </a:lnTo>
                <a:lnTo>
                  <a:pt x="4301" y="6468"/>
                </a:lnTo>
                <a:lnTo>
                  <a:pt x="4423" y="5691"/>
                </a:lnTo>
                <a:lnTo>
                  <a:pt x="4546" y="4914"/>
                </a:lnTo>
                <a:lnTo>
                  <a:pt x="4668" y="4137"/>
                </a:lnTo>
                <a:lnTo>
                  <a:pt x="4791" y="3360"/>
                </a:lnTo>
                <a:lnTo>
                  <a:pt x="4913" y="2583"/>
                </a:lnTo>
                <a:lnTo>
                  <a:pt x="5036" y="1806"/>
                </a:lnTo>
                <a:lnTo>
                  <a:pt x="5159" y="1029"/>
                </a:lnTo>
                <a:lnTo>
                  <a:pt x="5282" y="252"/>
                </a:lnTo>
                <a:lnTo>
                  <a:pt x="5406" y="1029"/>
                </a:lnTo>
                <a:lnTo>
                  <a:pt x="5530" y="1806"/>
                </a:lnTo>
                <a:lnTo>
                  <a:pt x="5654" y="2583"/>
                </a:lnTo>
                <a:lnTo>
                  <a:pt x="5780" y="3360"/>
                </a:lnTo>
                <a:lnTo>
                  <a:pt x="5904" y="4137"/>
                </a:lnTo>
                <a:lnTo>
                  <a:pt x="6028" y="4914"/>
                </a:lnTo>
                <a:lnTo>
                  <a:pt x="6152" y="5691"/>
                </a:lnTo>
                <a:lnTo>
                  <a:pt x="6277" y="6468"/>
                </a:lnTo>
                <a:lnTo>
                  <a:pt x="7038" y="6468"/>
                </a:lnTo>
                <a:lnTo>
                  <a:pt x="7800" y="6468"/>
                </a:lnTo>
                <a:lnTo>
                  <a:pt x="7922" y="5691"/>
                </a:lnTo>
                <a:lnTo>
                  <a:pt x="8045" y="4914"/>
                </a:lnTo>
                <a:lnTo>
                  <a:pt x="8168" y="4137"/>
                </a:lnTo>
                <a:lnTo>
                  <a:pt x="8291" y="3360"/>
                </a:lnTo>
                <a:lnTo>
                  <a:pt x="8413" y="2583"/>
                </a:lnTo>
                <a:lnTo>
                  <a:pt x="8536" y="1806"/>
                </a:lnTo>
                <a:lnTo>
                  <a:pt x="8659" y="1029"/>
                </a:lnTo>
                <a:lnTo>
                  <a:pt x="8782" y="252"/>
                </a:lnTo>
                <a:lnTo>
                  <a:pt x="8906" y="1029"/>
                </a:lnTo>
                <a:lnTo>
                  <a:pt x="9030" y="1806"/>
                </a:lnTo>
                <a:lnTo>
                  <a:pt x="9154" y="2583"/>
                </a:lnTo>
                <a:lnTo>
                  <a:pt x="9279" y="3360"/>
                </a:lnTo>
                <a:lnTo>
                  <a:pt x="9403" y="4137"/>
                </a:lnTo>
                <a:lnTo>
                  <a:pt x="9527" y="4914"/>
                </a:lnTo>
                <a:lnTo>
                  <a:pt x="9652" y="5691"/>
                </a:lnTo>
                <a:lnTo>
                  <a:pt x="9777" y="6468"/>
                </a:lnTo>
                <a:lnTo>
                  <a:pt x="10538" y="6468"/>
                </a:lnTo>
                <a:lnTo>
                  <a:pt x="11299" y="6468"/>
                </a:lnTo>
                <a:lnTo>
                  <a:pt x="11421" y="5691"/>
                </a:lnTo>
                <a:lnTo>
                  <a:pt x="11544" y="4914"/>
                </a:lnTo>
                <a:lnTo>
                  <a:pt x="11667" y="4137"/>
                </a:lnTo>
                <a:lnTo>
                  <a:pt x="11790" y="3360"/>
                </a:lnTo>
                <a:lnTo>
                  <a:pt x="11912" y="2583"/>
                </a:lnTo>
                <a:lnTo>
                  <a:pt x="12035" y="1806"/>
                </a:lnTo>
                <a:lnTo>
                  <a:pt x="12158" y="1029"/>
                </a:lnTo>
                <a:lnTo>
                  <a:pt x="12281" y="252"/>
                </a:lnTo>
                <a:lnTo>
                  <a:pt x="12405" y="1029"/>
                </a:lnTo>
                <a:lnTo>
                  <a:pt x="12529" y="1806"/>
                </a:lnTo>
                <a:lnTo>
                  <a:pt x="12653" y="2583"/>
                </a:lnTo>
                <a:lnTo>
                  <a:pt x="12778" y="3360"/>
                </a:lnTo>
                <a:lnTo>
                  <a:pt x="12902" y="4137"/>
                </a:lnTo>
                <a:lnTo>
                  <a:pt x="13026" y="4914"/>
                </a:lnTo>
                <a:lnTo>
                  <a:pt x="13150" y="5691"/>
                </a:lnTo>
                <a:lnTo>
                  <a:pt x="13275" y="6468"/>
                </a:lnTo>
                <a:lnTo>
                  <a:pt x="14037" y="6468"/>
                </a:lnTo>
                <a:lnTo>
                  <a:pt x="14799" y="6468"/>
                </a:lnTo>
                <a:lnTo>
                  <a:pt x="14940" y="5573"/>
                </a:lnTo>
                <a:lnTo>
                  <a:pt x="15081" y="4679"/>
                </a:lnTo>
                <a:lnTo>
                  <a:pt x="15222" y="3783"/>
                </a:lnTo>
                <a:lnTo>
                  <a:pt x="15364" y="2890"/>
                </a:lnTo>
                <a:lnTo>
                  <a:pt x="15364" y="2166"/>
                </a:lnTo>
                <a:lnTo>
                  <a:pt x="15364" y="1445"/>
                </a:lnTo>
                <a:lnTo>
                  <a:pt x="15364" y="722"/>
                </a:lnTo>
                <a:lnTo>
                  <a:pt x="15364" y="0"/>
                </a:lnTo>
                <a:close/>
              </a:path>
            </a:pathLst>
          </a:custGeom>
          <a:solidFill>
            <a:srgbClr val="A3009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A41CEA2-9FCC-A441-8A44-A1478732362A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31E5A416-BFB6-C592-B4A9-8E5E20DA540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FD45962-17C2-DDDE-2349-9566ACADA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307" y="4699653"/>
            <a:ext cx="9214625" cy="626701"/>
          </a:xfrm>
        </p:spPr>
        <p:txBody>
          <a:bodyPr wrap="square" anchor="ctr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3599">
                <a:solidFill>
                  <a:schemeClr val="bg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ation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7508A4A-DDAE-2329-3AFD-EAE62DEFEC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1295124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258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F0F5522-E427-4A11-A303-E1DA910ED41B}"/>
              </a:ext>
            </a:extLst>
          </p:cNvPr>
          <p:cNvSpPr/>
          <p:nvPr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rgbClr val="FFDB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E68D191-029C-4CE3-9A34-23EBABAE79FE}"/>
              </a:ext>
            </a:extLst>
          </p:cNvPr>
          <p:cNvSpPr>
            <a:spLocks/>
          </p:cNvSpPr>
          <p:nvPr/>
        </p:nvSpPr>
        <p:spPr bwMode="auto">
          <a:xfrm>
            <a:off x="0" y="3429000"/>
            <a:ext cx="12192000" cy="3429000"/>
          </a:xfrm>
          <a:custGeom>
            <a:avLst/>
            <a:gdLst>
              <a:gd name="T0" fmla="*/ 14896 w 15364"/>
              <a:gd name="T1" fmla="*/ 777 h 6468"/>
              <a:gd name="T2" fmla="*/ 14528 w 15364"/>
              <a:gd name="T3" fmla="*/ 3108 h 6468"/>
              <a:gd name="T4" fmla="*/ 14160 w 15364"/>
              <a:gd name="T5" fmla="*/ 5439 h 6468"/>
              <a:gd name="T6" fmla="*/ 13789 w 15364"/>
              <a:gd name="T7" fmla="*/ 4662 h 6468"/>
              <a:gd name="T8" fmla="*/ 13414 w 15364"/>
              <a:gd name="T9" fmla="*/ 2331 h 6468"/>
              <a:gd name="T10" fmla="*/ 13042 w 15364"/>
              <a:gd name="T11" fmla="*/ 0 h 6468"/>
              <a:gd name="T12" fmla="*/ 11397 w 15364"/>
              <a:gd name="T13" fmla="*/ 777 h 6468"/>
              <a:gd name="T14" fmla="*/ 11029 w 15364"/>
              <a:gd name="T15" fmla="*/ 3108 h 6468"/>
              <a:gd name="T16" fmla="*/ 10660 w 15364"/>
              <a:gd name="T17" fmla="*/ 5439 h 6468"/>
              <a:gd name="T18" fmla="*/ 10289 w 15364"/>
              <a:gd name="T19" fmla="*/ 4662 h 6468"/>
              <a:gd name="T20" fmla="*/ 9916 w 15364"/>
              <a:gd name="T21" fmla="*/ 2331 h 6468"/>
              <a:gd name="T22" fmla="*/ 9543 w 15364"/>
              <a:gd name="T23" fmla="*/ 0 h 6468"/>
              <a:gd name="T24" fmla="*/ 7897 w 15364"/>
              <a:gd name="T25" fmla="*/ 777 h 6468"/>
              <a:gd name="T26" fmla="*/ 7529 w 15364"/>
              <a:gd name="T27" fmla="*/ 3108 h 6468"/>
              <a:gd name="T28" fmla="*/ 7161 w 15364"/>
              <a:gd name="T29" fmla="*/ 5439 h 6468"/>
              <a:gd name="T30" fmla="*/ 6790 w 15364"/>
              <a:gd name="T31" fmla="*/ 4662 h 6468"/>
              <a:gd name="T32" fmla="*/ 6417 w 15364"/>
              <a:gd name="T33" fmla="*/ 2331 h 6468"/>
              <a:gd name="T34" fmla="*/ 6045 w 15364"/>
              <a:gd name="T35" fmla="*/ 0 h 6468"/>
              <a:gd name="T36" fmla="*/ 4398 w 15364"/>
              <a:gd name="T37" fmla="*/ 777 h 6468"/>
              <a:gd name="T38" fmla="*/ 4030 w 15364"/>
              <a:gd name="T39" fmla="*/ 3108 h 6468"/>
              <a:gd name="T40" fmla="*/ 3661 w 15364"/>
              <a:gd name="T41" fmla="*/ 5439 h 6468"/>
              <a:gd name="T42" fmla="*/ 3290 w 15364"/>
              <a:gd name="T43" fmla="*/ 4662 h 6468"/>
              <a:gd name="T44" fmla="*/ 2917 w 15364"/>
              <a:gd name="T45" fmla="*/ 2331 h 6468"/>
              <a:gd name="T46" fmla="*/ 2545 w 15364"/>
              <a:gd name="T47" fmla="*/ 0 h 6468"/>
              <a:gd name="T48" fmla="*/ 894 w 15364"/>
              <a:gd name="T49" fmla="*/ 809 h 6468"/>
              <a:gd name="T50" fmla="*/ 511 w 15364"/>
              <a:gd name="T51" fmla="*/ 3234 h 6468"/>
              <a:gd name="T52" fmla="*/ 127 w 15364"/>
              <a:gd name="T53" fmla="*/ 5660 h 6468"/>
              <a:gd name="T54" fmla="*/ 801 w 15364"/>
              <a:gd name="T55" fmla="*/ 6468 h 6468"/>
              <a:gd name="T56" fmla="*/ 1169 w 15364"/>
              <a:gd name="T57" fmla="*/ 4137 h 6468"/>
              <a:gd name="T58" fmla="*/ 1537 w 15364"/>
              <a:gd name="T59" fmla="*/ 1806 h 6468"/>
              <a:gd name="T60" fmla="*/ 1907 w 15364"/>
              <a:gd name="T61" fmla="*/ 1029 h 6468"/>
              <a:gd name="T62" fmla="*/ 2281 w 15364"/>
              <a:gd name="T63" fmla="*/ 3360 h 6468"/>
              <a:gd name="T64" fmla="*/ 2653 w 15364"/>
              <a:gd name="T65" fmla="*/ 5691 h 6468"/>
              <a:gd name="T66" fmla="*/ 4301 w 15364"/>
              <a:gd name="T67" fmla="*/ 6468 h 6468"/>
              <a:gd name="T68" fmla="*/ 4668 w 15364"/>
              <a:gd name="T69" fmla="*/ 4137 h 6468"/>
              <a:gd name="T70" fmla="*/ 5036 w 15364"/>
              <a:gd name="T71" fmla="*/ 1806 h 6468"/>
              <a:gd name="T72" fmla="*/ 5406 w 15364"/>
              <a:gd name="T73" fmla="*/ 1029 h 6468"/>
              <a:gd name="T74" fmla="*/ 5780 w 15364"/>
              <a:gd name="T75" fmla="*/ 3360 h 6468"/>
              <a:gd name="T76" fmla="*/ 6152 w 15364"/>
              <a:gd name="T77" fmla="*/ 5691 h 6468"/>
              <a:gd name="T78" fmla="*/ 7800 w 15364"/>
              <a:gd name="T79" fmla="*/ 6468 h 6468"/>
              <a:gd name="T80" fmla="*/ 8168 w 15364"/>
              <a:gd name="T81" fmla="*/ 4137 h 6468"/>
              <a:gd name="T82" fmla="*/ 8536 w 15364"/>
              <a:gd name="T83" fmla="*/ 1806 h 6468"/>
              <a:gd name="T84" fmla="*/ 8906 w 15364"/>
              <a:gd name="T85" fmla="*/ 1029 h 6468"/>
              <a:gd name="T86" fmla="*/ 9279 w 15364"/>
              <a:gd name="T87" fmla="*/ 3360 h 6468"/>
              <a:gd name="T88" fmla="*/ 9652 w 15364"/>
              <a:gd name="T89" fmla="*/ 5691 h 6468"/>
              <a:gd name="T90" fmla="*/ 11299 w 15364"/>
              <a:gd name="T91" fmla="*/ 6468 h 6468"/>
              <a:gd name="T92" fmla="*/ 11667 w 15364"/>
              <a:gd name="T93" fmla="*/ 4137 h 6468"/>
              <a:gd name="T94" fmla="*/ 12035 w 15364"/>
              <a:gd name="T95" fmla="*/ 1806 h 6468"/>
              <a:gd name="T96" fmla="*/ 12405 w 15364"/>
              <a:gd name="T97" fmla="*/ 1029 h 6468"/>
              <a:gd name="T98" fmla="*/ 12778 w 15364"/>
              <a:gd name="T99" fmla="*/ 3360 h 6468"/>
              <a:gd name="T100" fmla="*/ 13150 w 15364"/>
              <a:gd name="T101" fmla="*/ 5691 h 6468"/>
              <a:gd name="T102" fmla="*/ 14799 w 15364"/>
              <a:gd name="T103" fmla="*/ 6468 h 6468"/>
              <a:gd name="T104" fmla="*/ 15222 w 15364"/>
              <a:gd name="T105" fmla="*/ 3783 h 6468"/>
              <a:gd name="T106" fmla="*/ 15364 w 15364"/>
              <a:gd name="T107" fmla="*/ 1445 h 6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364" h="6468">
                <a:moveTo>
                  <a:pt x="15364" y="0"/>
                </a:moveTo>
                <a:lnTo>
                  <a:pt x="15019" y="0"/>
                </a:lnTo>
                <a:lnTo>
                  <a:pt x="14896" y="777"/>
                </a:lnTo>
                <a:lnTo>
                  <a:pt x="14773" y="1554"/>
                </a:lnTo>
                <a:lnTo>
                  <a:pt x="14650" y="2331"/>
                </a:lnTo>
                <a:lnTo>
                  <a:pt x="14528" y="3108"/>
                </a:lnTo>
                <a:lnTo>
                  <a:pt x="14405" y="3885"/>
                </a:lnTo>
                <a:lnTo>
                  <a:pt x="14283" y="4662"/>
                </a:lnTo>
                <a:lnTo>
                  <a:pt x="14160" y="5439"/>
                </a:lnTo>
                <a:lnTo>
                  <a:pt x="14038" y="6216"/>
                </a:lnTo>
                <a:lnTo>
                  <a:pt x="13913" y="5439"/>
                </a:lnTo>
                <a:lnTo>
                  <a:pt x="13789" y="4662"/>
                </a:lnTo>
                <a:lnTo>
                  <a:pt x="13664" y="3885"/>
                </a:lnTo>
                <a:lnTo>
                  <a:pt x="13540" y="3108"/>
                </a:lnTo>
                <a:lnTo>
                  <a:pt x="13414" y="2331"/>
                </a:lnTo>
                <a:lnTo>
                  <a:pt x="13290" y="1554"/>
                </a:lnTo>
                <a:lnTo>
                  <a:pt x="13166" y="777"/>
                </a:lnTo>
                <a:lnTo>
                  <a:pt x="13042" y="0"/>
                </a:lnTo>
                <a:lnTo>
                  <a:pt x="12281" y="0"/>
                </a:lnTo>
                <a:lnTo>
                  <a:pt x="11520" y="0"/>
                </a:lnTo>
                <a:lnTo>
                  <a:pt x="11397" y="777"/>
                </a:lnTo>
                <a:lnTo>
                  <a:pt x="11274" y="1554"/>
                </a:lnTo>
                <a:lnTo>
                  <a:pt x="11151" y="2331"/>
                </a:lnTo>
                <a:lnTo>
                  <a:pt x="11029" y="3108"/>
                </a:lnTo>
                <a:lnTo>
                  <a:pt x="10906" y="3885"/>
                </a:lnTo>
                <a:lnTo>
                  <a:pt x="10783" y="4662"/>
                </a:lnTo>
                <a:lnTo>
                  <a:pt x="10660" y="5439"/>
                </a:lnTo>
                <a:lnTo>
                  <a:pt x="10538" y="6216"/>
                </a:lnTo>
                <a:lnTo>
                  <a:pt x="10413" y="5439"/>
                </a:lnTo>
                <a:lnTo>
                  <a:pt x="10289" y="4662"/>
                </a:lnTo>
                <a:lnTo>
                  <a:pt x="10165" y="3885"/>
                </a:lnTo>
                <a:lnTo>
                  <a:pt x="10041" y="3108"/>
                </a:lnTo>
                <a:lnTo>
                  <a:pt x="9916" y="2331"/>
                </a:lnTo>
                <a:lnTo>
                  <a:pt x="9792" y="1554"/>
                </a:lnTo>
                <a:lnTo>
                  <a:pt x="9668" y="777"/>
                </a:lnTo>
                <a:lnTo>
                  <a:pt x="9543" y="0"/>
                </a:lnTo>
                <a:lnTo>
                  <a:pt x="8781" y="0"/>
                </a:lnTo>
                <a:lnTo>
                  <a:pt x="8020" y="0"/>
                </a:lnTo>
                <a:lnTo>
                  <a:pt x="7897" y="777"/>
                </a:lnTo>
                <a:lnTo>
                  <a:pt x="7774" y="1554"/>
                </a:lnTo>
                <a:lnTo>
                  <a:pt x="7651" y="2331"/>
                </a:lnTo>
                <a:lnTo>
                  <a:pt x="7529" y="3108"/>
                </a:lnTo>
                <a:lnTo>
                  <a:pt x="7406" y="3885"/>
                </a:lnTo>
                <a:lnTo>
                  <a:pt x="7284" y="4662"/>
                </a:lnTo>
                <a:lnTo>
                  <a:pt x="7161" y="5439"/>
                </a:lnTo>
                <a:lnTo>
                  <a:pt x="7039" y="6216"/>
                </a:lnTo>
                <a:lnTo>
                  <a:pt x="6914" y="5439"/>
                </a:lnTo>
                <a:lnTo>
                  <a:pt x="6790" y="4662"/>
                </a:lnTo>
                <a:lnTo>
                  <a:pt x="6666" y="3885"/>
                </a:lnTo>
                <a:lnTo>
                  <a:pt x="6542" y="3108"/>
                </a:lnTo>
                <a:lnTo>
                  <a:pt x="6417" y="2331"/>
                </a:lnTo>
                <a:lnTo>
                  <a:pt x="6293" y="1554"/>
                </a:lnTo>
                <a:lnTo>
                  <a:pt x="6169" y="777"/>
                </a:lnTo>
                <a:lnTo>
                  <a:pt x="6045" y="0"/>
                </a:lnTo>
                <a:lnTo>
                  <a:pt x="5282" y="0"/>
                </a:lnTo>
                <a:lnTo>
                  <a:pt x="4521" y="0"/>
                </a:lnTo>
                <a:lnTo>
                  <a:pt x="4398" y="777"/>
                </a:lnTo>
                <a:lnTo>
                  <a:pt x="4275" y="1554"/>
                </a:lnTo>
                <a:lnTo>
                  <a:pt x="4152" y="2331"/>
                </a:lnTo>
                <a:lnTo>
                  <a:pt x="4030" y="3108"/>
                </a:lnTo>
                <a:lnTo>
                  <a:pt x="3907" y="3885"/>
                </a:lnTo>
                <a:lnTo>
                  <a:pt x="3784" y="4662"/>
                </a:lnTo>
                <a:lnTo>
                  <a:pt x="3661" y="5439"/>
                </a:lnTo>
                <a:lnTo>
                  <a:pt x="3539" y="6216"/>
                </a:lnTo>
                <a:lnTo>
                  <a:pt x="3414" y="5439"/>
                </a:lnTo>
                <a:lnTo>
                  <a:pt x="3290" y="4662"/>
                </a:lnTo>
                <a:lnTo>
                  <a:pt x="3166" y="3885"/>
                </a:lnTo>
                <a:lnTo>
                  <a:pt x="3042" y="3108"/>
                </a:lnTo>
                <a:lnTo>
                  <a:pt x="2917" y="2331"/>
                </a:lnTo>
                <a:lnTo>
                  <a:pt x="2793" y="1554"/>
                </a:lnTo>
                <a:lnTo>
                  <a:pt x="2669" y="777"/>
                </a:lnTo>
                <a:lnTo>
                  <a:pt x="2545" y="0"/>
                </a:lnTo>
                <a:lnTo>
                  <a:pt x="1783" y="0"/>
                </a:lnTo>
                <a:lnTo>
                  <a:pt x="1022" y="0"/>
                </a:lnTo>
                <a:lnTo>
                  <a:pt x="894" y="809"/>
                </a:lnTo>
                <a:lnTo>
                  <a:pt x="766" y="1617"/>
                </a:lnTo>
                <a:lnTo>
                  <a:pt x="638" y="2426"/>
                </a:lnTo>
                <a:lnTo>
                  <a:pt x="511" y="3234"/>
                </a:lnTo>
                <a:lnTo>
                  <a:pt x="383" y="4043"/>
                </a:lnTo>
                <a:lnTo>
                  <a:pt x="255" y="4851"/>
                </a:lnTo>
                <a:lnTo>
                  <a:pt x="127" y="5660"/>
                </a:lnTo>
                <a:lnTo>
                  <a:pt x="0" y="6468"/>
                </a:lnTo>
                <a:lnTo>
                  <a:pt x="400" y="6468"/>
                </a:lnTo>
                <a:lnTo>
                  <a:pt x="801" y="6468"/>
                </a:lnTo>
                <a:lnTo>
                  <a:pt x="923" y="5691"/>
                </a:lnTo>
                <a:lnTo>
                  <a:pt x="1046" y="4914"/>
                </a:lnTo>
                <a:lnTo>
                  <a:pt x="1169" y="4137"/>
                </a:lnTo>
                <a:lnTo>
                  <a:pt x="1292" y="3360"/>
                </a:lnTo>
                <a:lnTo>
                  <a:pt x="1414" y="2583"/>
                </a:lnTo>
                <a:lnTo>
                  <a:pt x="1537" y="1806"/>
                </a:lnTo>
                <a:lnTo>
                  <a:pt x="1660" y="1029"/>
                </a:lnTo>
                <a:lnTo>
                  <a:pt x="1783" y="252"/>
                </a:lnTo>
                <a:lnTo>
                  <a:pt x="1907" y="1029"/>
                </a:lnTo>
                <a:lnTo>
                  <a:pt x="2032" y="1806"/>
                </a:lnTo>
                <a:lnTo>
                  <a:pt x="2156" y="2583"/>
                </a:lnTo>
                <a:lnTo>
                  <a:pt x="2281" y="3360"/>
                </a:lnTo>
                <a:lnTo>
                  <a:pt x="2405" y="4137"/>
                </a:lnTo>
                <a:lnTo>
                  <a:pt x="2529" y="4914"/>
                </a:lnTo>
                <a:lnTo>
                  <a:pt x="2653" y="5691"/>
                </a:lnTo>
                <a:lnTo>
                  <a:pt x="2778" y="6468"/>
                </a:lnTo>
                <a:lnTo>
                  <a:pt x="3539" y="6468"/>
                </a:lnTo>
                <a:lnTo>
                  <a:pt x="4301" y="6468"/>
                </a:lnTo>
                <a:lnTo>
                  <a:pt x="4423" y="5691"/>
                </a:lnTo>
                <a:lnTo>
                  <a:pt x="4546" y="4914"/>
                </a:lnTo>
                <a:lnTo>
                  <a:pt x="4668" y="4137"/>
                </a:lnTo>
                <a:lnTo>
                  <a:pt x="4791" y="3360"/>
                </a:lnTo>
                <a:lnTo>
                  <a:pt x="4913" y="2583"/>
                </a:lnTo>
                <a:lnTo>
                  <a:pt x="5036" y="1806"/>
                </a:lnTo>
                <a:lnTo>
                  <a:pt x="5159" y="1029"/>
                </a:lnTo>
                <a:lnTo>
                  <a:pt x="5282" y="252"/>
                </a:lnTo>
                <a:lnTo>
                  <a:pt x="5406" y="1029"/>
                </a:lnTo>
                <a:lnTo>
                  <a:pt x="5530" y="1806"/>
                </a:lnTo>
                <a:lnTo>
                  <a:pt x="5654" y="2583"/>
                </a:lnTo>
                <a:lnTo>
                  <a:pt x="5780" y="3360"/>
                </a:lnTo>
                <a:lnTo>
                  <a:pt x="5904" y="4137"/>
                </a:lnTo>
                <a:lnTo>
                  <a:pt x="6028" y="4914"/>
                </a:lnTo>
                <a:lnTo>
                  <a:pt x="6152" y="5691"/>
                </a:lnTo>
                <a:lnTo>
                  <a:pt x="6277" y="6468"/>
                </a:lnTo>
                <a:lnTo>
                  <a:pt x="7038" y="6468"/>
                </a:lnTo>
                <a:lnTo>
                  <a:pt x="7800" y="6468"/>
                </a:lnTo>
                <a:lnTo>
                  <a:pt x="7922" y="5691"/>
                </a:lnTo>
                <a:lnTo>
                  <a:pt x="8045" y="4914"/>
                </a:lnTo>
                <a:lnTo>
                  <a:pt x="8168" y="4137"/>
                </a:lnTo>
                <a:lnTo>
                  <a:pt x="8291" y="3360"/>
                </a:lnTo>
                <a:lnTo>
                  <a:pt x="8413" y="2583"/>
                </a:lnTo>
                <a:lnTo>
                  <a:pt x="8536" y="1806"/>
                </a:lnTo>
                <a:lnTo>
                  <a:pt x="8659" y="1029"/>
                </a:lnTo>
                <a:lnTo>
                  <a:pt x="8782" y="252"/>
                </a:lnTo>
                <a:lnTo>
                  <a:pt x="8906" y="1029"/>
                </a:lnTo>
                <a:lnTo>
                  <a:pt x="9030" y="1806"/>
                </a:lnTo>
                <a:lnTo>
                  <a:pt x="9154" y="2583"/>
                </a:lnTo>
                <a:lnTo>
                  <a:pt x="9279" y="3360"/>
                </a:lnTo>
                <a:lnTo>
                  <a:pt x="9403" y="4137"/>
                </a:lnTo>
                <a:lnTo>
                  <a:pt x="9527" y="4914"/>
                </a:lnTo>
                <a:lnTo>
                  <a:pt x="9652" y="5691"/>
                </a:lnTo>
                <a:lnTo>
                  <a:pt x="9777" y="6468"/>
                </a:lnTo>
                <a:lnTo>
                  <a:pt x="10538" y="6468"/>
                </a:lnTo>
                <a:lnTo>
                  <a:pt x="11299" y="6468"/>
                </a:lnTo>
                <a:lnTo>
                  <a:pt x="11421" y="5691"/>
                </a:lnTo>
                <a:lnTo>
                  <a:pt x="11544" y="4914"/>
                </a:lnTo>
                <a:lnTo>
                  <a:pt x="11667" y="4137"/>
                </a:lnTo>
                <a:lnTo>
                  <a:pt x="11790" y="3360"/>
                </a:lnTo>
                <a:lnTo>
                  <a:pt x="11912" y="2583"/>
                </a:lnTo>
                <a:lnTo>
                  <a:pt x="12035" y="1806"/>
                </a:lnTo>
                <a:lnTo>
                  <a:pt x="12158" y="1029"/>
                </a:lnTo>
                <a:lnTo>
                  <a:pt x="12281" y="252"/>
                </a:lnTo>
                <a:lnTo>
                  <a:pt x="12405" y="1029"/>
                </a:lnTo>
                <a:lnTo>
                  <a:pt x="12529" y="1806"/>
                </a:lnTo>
                <a:lnTo>
                  <a:pt x="12653" y="2583"/>
                </a:lnTo>
                <a:lnTo>
                  <a:pt x="12778" y="3360"/>
                </a:lnTo>
                <a:lnTo>
                  <a:pt x="12902" y="4137"/>
                </a:lnTo>
                <a:lnTo>
                  <a:pt x="13026" y="4914"/>
                </a:lnTo>
                <a:lnTo>
                  <a:pt x="13150" y="5691"/>
                </a:lnTo>
                <a:lnTo>
                  <a:pt x="13275" y="6468"/>
                </a:lnTo>
                <a:lnTo>
                  <a:pt x="14037" y="6468"/>
                </a:lnTo>
                <a:lnTo>
                  <a:pt x="14799" y="6468"/>
                </a:lnTo>
                <a:lnTo>
                  <a:pt x="14940" y="5573"/>
                </a:lnTo>
                <a:lnTo>
                  <a:pt x="15081" y="4679"/>
                </a:lnTo>
                <a:lnTo>
                  <a:pt x="15222" y="3783"/>
                </a:lnTo>
                <a:lnTo>
                  <a:pt x="15364" y="2890"/>
                </a:lnTo>
                <a:lnTo>
                  <a:pt x="15364" y="2166"/>
                </a:lnTo>
                <a:lnTo>
                  <a:pt x="15364" y="1445"/>
                </a:lnTo>
                <a:lnTo>
                  <a:pt x="15364" y="722"/>
                </a:lnTo>
                <a:lnTo>
                  <a:pt x="15364" y="0"/>
                </a:lnTo>
                <a:close/>
              </a:path>
            </a:pathLst>
          </a:custGeom>
          <a:solidFill>
            <a:srgbClr val="FAD4BB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968BB60-37FD-9344-A894-08A1C85029CC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31E5A416-BFB6-C592-B4A9-8E5E20DA540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6FD45962-17C2-DDDE-2349-9566ACADA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307" y="4699653"/>
            <a:ext cx="9214625" cy="626701"/>
          </a:xfrm>
        </p:spPr>
        <p:txBody>
          <a:bodyPr wrap="square" anchor="ctr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3599">
                <a:solidFill>
                  <a:schemeClr val="accent1"/>
                </a:solidFill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ation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7508A4A-DDAE-2329-3AFD-EAE62DEFEC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1295124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4648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A1A02-587D-BD4E-BEA3-E196B3F1675D}" type="datetime1">
              <a:rPr lang="fi-FI" smtClean="0"/>
              <a:t>17.4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mo.vuori@aalto.f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EC47223-1688-4F40-BD3E-FE4BAA2D6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2262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B1FF4-3A50-F630-0D5B-72E1DFF9C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291470-0D54-A8F5-DC4A-BE975B6045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723375-2397-FE09-9E13-A789DC247F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A39037-748B-8300-066B-AC3762F18CA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DF3EDE-D320-31AA-1E4B-D94EA0E5EF5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25E9E1-8EFD-216B-5C76-944FA8483B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2A362E-6FFE-B80F-0452-FA352B4F26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0EC6EB-EFF6-27ED-980F-72388EBEA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2812821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306" y="2060575"/>
            <a:ext cx="11087388" cy="3816351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C00761-2F65-8F4A-91A1-878E86927EA1}" type="datetime1">
              <a:rPr lang="fi-FI" smtClean="0"/>
              <a:t>17.4.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mo.vuori@aalto.f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95A28079-599D-4ADE-A223-CB797EDB0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27" y="476250"/>
            <a:ext cx="11086345" cy="488201"/>
          </a:xfrm>
        </p:spPr>
        <p:txBody>
          <a:bodyPr>
            <a:spAutoFit/>
          </a:bodyPr>
          <a:lstStyle>
            <a:lvl1pPr>
              <a:defRPr sz="2999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049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5">
            <a:extLst>
              <a:ext uri="{FF2B5EF4-FFF2-40B4-BE49-F238E27FC236}">
                <a16:creationId xmlns:a16="http://schemas.microsoft.com/office/drawing/2014/main" id="{7DBA91EE-BFDD-4F44-BF36-5DB5525664EA}"/>
              </a:ext>
            </a:extLst>
          </p:cNvPr>
          <p:cNvSpPr>
            <a:spLocks noEditPoints="1"/>
          </p:cNvSpPr>
          <p:nvPr/>
        </p:nvSpPr>
        <p:spPr bwMode="auto">
          <a:xfrm>
            <a:off x="0" y="7938"/>
            <a:ext cx="12192000" cy="6842125"/>
          </a:xfrm>
          <a:custGeom>
            <a:avLst/>
            <a:gdLst>
              <a:gd name="T0" fmla="*/ 14676 w 15364"/>
              <a:gd name="T1" fmla="*/ 6214 h 12930"/>
              <a:gd name="T2" fmla="*/ 14054 w 15364"/>
              <a:gd name="T3" fmla="*/ 2330 h 12930"/>
              <a:gd name="T4" fmla="*/ 12158 w 15364"/>
              <a:gd name="T5" fmla="*/ 0 h 12930"/>
              <a:gd name="T6" fmla="*/ 11544 w 15364"/>
              <a:gd name="T7" fmla="*/ 3883 h 12930"/>
              <a:gd name="T8" fmla="*/ 10927 w 15364"/>
              <a:gd name="T9" fmla="*/ 4660 h 12930"/>
              <a:gd name="T10" fmla="*/ 10307 w 15364"/>
              <a:gd name="T11" fmla="*/ 777 h 12930"/>
              <a:gd name="T12" fmla="*/ 8413 w 15364"/>
              <a:gd name="T13" fmla="*/ 1553 h 12930"/>
              <a:gd name="T14" fmla="*/ 7799 w 15364"/>
              <a:gd name="T15" fmla="*/ 5437 h 12930"/>
              <a:gd name="T16" fmla="*/ 7180 w 15364"/>
              <a:gd name="T17" fmla="*/ 3107 h 12930"/>
              <a:gd name="T18" fmla="*/ 5921 w 15364"/>
              <a:gd name="T19" fmla="*/ 0 h 12930"/>
              <a:gd name="T20" fmla="*/ 4668 w 15364"/>
              <a:gd name="T21" fmla="*/ 3107 h 12930"/>
              <a:gd name="T22" fmla="*/ 4053 w 15364"/>
              <a:gd name="T23" fmla="*/ 5437 h 12930"/>
              <a:gd name="T24" fmla="*/ 3431 w 15364"/>
              <a:gd name="T25" fmla="*/ 1553 h 12930"/>
              <a:gd name="T26" fmla="*/ 1537 w 15364"/>
              <a:gd name="T27" fmla="*/ 777 h 12930"/>
              <a:gd name="T28" fmla="*/ 923 w 15364"/>
              <a:gd name="T29" fmla="*/ 4660 h 12930"/>
              <a:gd name="T30" fmla="*/ 169 w 15364"/>
              <a:gd name="T31" fmla="*/ 3035 h 12930"/>
              <a:gd name="T32" fmla="*/ 0 w 15364"/>
              <a:gd name="T33" fmla="*/ 6490 h 12930"/>
              <a:gd name="T34" fmla="*/ 169 w 15364"/>
              <a:gd name="T35" fmla="*/ 9934 h 12930"/>
              <a:gd name="T36" fmla="*/ 926 w 15364"/>
              <a:gd name="T37" fmla="*/ 8270 h 12930"/>
              <a:gd name="T38" fmla="*/ 1547 w 15364"/>
              <a:gd name="T39" fmla="*/ 12153 h 12930"/>
              <a:gd name="T40" fmla="*/ 3441 w 15364"/>
              <a:gd name="T41" fmla="*/ 11377 h 12930"/>
              <a:gd name="T42" fmla="*/ 4054 w 15364"/>
              <a:gd name="T43" fmla="*/ 7493 h 12930"/>
              <a:gd name="T44" fmla="*/ 4674 w 15364"/>
              <a:gd name="T45" fmla="*/ 9823 h 12930"/>
              <a:gd name="T46" fmla="*/ 5933 w 15364"/>
              <a:gd name="T47" fmla="*/ 12930 h 12930"/>
              <a:gd name="T48" fmla="*/ 7186 w 15364"/>
              <a:gd name="T49" fmla="*/ 9823 h 12930"/>
              <a:gd name="T50" fmla="*/ 7801 w 15364"/>
              <a:gd name="T51" fmla="*/ 7493 h 12930"/>
              <a:gd name="T52" fmla="*/ 8422 w 15364"/>
              <a:gd name="T53" fmla="*/ 11377 h 12930"/>
              <a:gd name="T54" fmla="*/ 10316 w 15364"/>
              <a:gd name="T55" fmla="*/ 12153 h 12930"/>
              <a:gd name="T56" fmla="*/ 10930 w 15364"/>
              <a:gd name="T57" fmla="*/ 8270 h 12930"/>
              <a:gd name="T58" fmla="*/ 11548 w 15364"/>
              <a:gd name="T59" fmla="*/ 9047 h 12930"/>
              <a:gd name="T60" fmla="*/ 12170 w 15364"/>
              <a:gd name="T61" fmla="*/ 12930 h 12930"/>
              <a:gd name="T62" fmla="*/ 14062 w 15364"/>
              <a:gd name="T63" fmla="*/ 10600 h 12930"/>
              <a:gd name="T64" fmla="*/ 14676 w 15364"/>
              <a:gd name="T65" fmla="*/ 6716 h 12930"/>
              <a:gd name="T66" fmla="*/ 15364 w 15364"/>
              <a:gd name="T67" fmla="*/ 9873 h 12930"/>
              <a:gd name="T68" fmla="*/ 15364 w 15364"/>
              <a:gd name="T69" fmla="*/ 4148 h 12930"/>
              <a:gd name="T70" fmla="*/ 2185 w 15364"/>
              <a:gd name="T71" fmla="*/ 11125 h 12930"/>
              <a:gd name="T72" fmla="*/ 1563 w 15364"/>
              <a:gd name="T73" fmla="*/ 7242 h 12930"/>
              <a:gd name="T74" fmla="*/ 1931 w 15364"/>
              <a:gd name="T75" fmla="*/ 3358 h 12930"/>
              <a:gd name="T76" fmla="*/ 2546 w 15364"/>
              <a:gd name="T77" fmla="*/ 1028 h 12930"/>
              <a:gd name="T78" fmla="*/ 3167 w 15364"/>
              <a:gd name="T79" fmla="*/ 4912 h 12930"/>
              <a:gd name="T80" fmla="*/ 3047 w 15364"/>
              <a:gd name="T81" fmla="*/ 8795 h 12930"/>
              <a:gd name="T82" fmla="*/ 2434 w 15364"/>
              <a:gd name="T83" fmla="*/ 12679 h 12930"/>
              <a:gd name="T84" fmla="*/ 5436 w 15364"/>
              <a:gd name="T85" fmla="*/ 9572 h 12930"/>
              <a:gd name="T86" fmla="*/ 5061 w 15364"/>
              <a:gd name="T87" fmla="*/ 5688 h 12930"/>
              <a:gd name="T88" fmla="*/ 5674 w 15364"/>
              <a:gd name="T89" fmla="*/ 1805 h 12930"/>
              <a:gd name="T90" fmla="*/ 6293 w 15364"/>
              <a:gd name="T91" fmla="*/ 2582 h 12930"/>
              <a:gd name="T92" fmla="*/ 6916 w 15364"/>
              <a:gd name="T93" fmla="*/ 6465 h 12930"/>
              <a:gd name="T94" fmla="*/ 6302 w 15364"/>
              <a:gd name="T95" fmla="*/ 10348 h 12930"/>
              <a:gd name="T96" fmla="*/ 9307 w 15364"/>
              <a:gd name="T97" fmla="*/ 11902 h 12930"/>
              <a:gd name="T98" fmla="*/ 8686 w 15364"/>
              <a:gd name="T99" fmla="*/ 8018 h 12930"/>
              <a:gd name="T100" fmla="*/ 8806 w 15364"/>
              <a:gd name="T101" fmla="*/ 4135 h 12930"/>
              <a:gd name="T102" fmla="*/ 9420 w 15364"/>
              <a:gd name="T103" fmla="*/ 251 h 12930"/>
              <a:gd name="T104" fmla="*/ 10042 w 15364"/>
              <a:gd name="T105" fmla="*/ 4135 h 12930"/>
              <a:gd name="T106" fmla="*/ 10169 w 15364"/>
              <a:gd name="T107" fmla="*/ 8018 h 12930"/>
              <a:gd name="T108" fmla="*/ 9554 w 15364"/>
              <a:gd name="T109" fmla="*/ 11902 h 12930"/>
              <a:gd name="T110" fmla="*/ 12559 w 15364"/>
              <a:gd name="T111" fmla="*/ 10348 h 12930"/>
              <a:gd name="T112" fmla="*/ 11938 w 15364"/>
              <a:gd name="T113" fmla="*/ 6465 h 12930"/>
              <a:gd name="T114" fmla="*/ 12551 w 15364"/>
              <a:gd name="T115" fmla="*/ 2582 h 12930"/>
              <a:gd name="T116" fmla="*/ 13168 w 15364"/>
              <a:gd name="T117" fmla="*/ 1805 h 12930"/>
              <a:gd name="T118" fmla="*/ 13789 w 15364"/>
              <a:gd name="T119" fmla="*/ 5688 h 12930"/>
              <a:gd name="T120" fmla="*/ 13422 w 15364"/>
              <a:gd name="T121" fmla="*/ 9572 h 12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64" h="12930">
                <a:moveTo>
                  <a:pt x="15364" y="1859"/>
                </a:moveTo>
                <a:lnTo>
                  <a:pt x="15192" y="2947"/>
                </a:lnTo>
                <a:lnTo>
                  <a:pt x="15020" y="4036"/>
                </a:lnTo>
                <a:lnTo>
                  <a:pt x="14848" y="5124"/>
                </a:lnTo>
                <a:lnTo>
                  <a:pt x="14676" y="6214"/>
                </a:lnTo>
                <a:lnTo>
                  <a:pt x="14551" y="5437"/>
                </a:lnTo>
                <a:lnTo>
                  <a:pt x="14427" y="4660"/>
                </a:lnTo>
                <a:lnTo>
                  <a:pt x="14303" y="3883"/>
                </a:lnTo>
                <a:lnTo>
                  <a:pt x="14179" y="3107"/>
                </a:lnTo>
                <a:lnTo>
                  <a:pt x="14054" y="2330"/>
                </a:lnTo>
                <a:lnTo>
                  <a:pt x="13930" y="1553"/>
                </a:lnTo>
                <a:lnTo>
                  <a:pt x="13806" y="777"/>
                </a:lnTo>
                <a:lnTo>
                  <a:pt x="13682" y="0"/>
                </a:lnTo>
                <a:lnTo>
                  <a:pt x="12919" y="0"/>
                </a:lnTo>
                <a:lnTo>
                  <a:pt x="12158" y="0"/>
                </a:lnTo>
                <a:lnTo>
                  <a:pt x="12035" y="777"/>
                </a:lnTo>
                <a:lnTo>
                  <a:pt x="11912" y="1553"/>
                </a:lnTo>
                <a:lnTo>
                  <a:pt x="11789" y="2330"/>
                </a:lnTo>
                <a:lnTo>
                  <a:pt x="11667" y="3107"/>
                </a:lnTo>
                <a:lnTo>
                  <a:pt x="11544" y="3883"/>
                </a:lnTo>
                <a:lnTo>
                  <a:pt x="11421" y="4660"/>
                </a:lnTo>
                <a:lnTo>
                  <a:pt x="11298" y="5437"/>
                </a:lnTo>
                <a:lnTo>
                  <a:pt x="11176" y="6214"/>
                </a:lnTo>
                <a:lnTo>
                  <a:pt x="11051" y="5437"/>
                </a:lnTo>
                <a:lnTo>
                  <a:pt x="10927" y="4660"/>
                </a:lnTo>
                <a:lnTo>
                  <a:pt x="10803" y="3883"/>
                </a:lnTo>
                <a:lnTo>
                  <a:pt x="10679" y="3107"/>
                </a:lnTo>
                <a:lnTo>
                  <a:pt x="10555" y="2330"/>
                </a:lnTo>
                <a:lnTo>
                  <a:pt x="10431" y="1553"/>
                </a:lnTo>
                <a:lnTo>
                  <a:pt x="10307" y="777"/>
                </a:lnTo>
                <a:lnTo>
                  <a:pt x="10183" y="0"/>
                </a:lnTo>
                <a:lnTo>
                  <a:pt x="9420" y="0"/>
                </a:lnTo>
                <a:lnTo>
                  <a:pt x="8659" y="0"/>
                </a:lnTo>
                <a:lnTo>
                  <a:pt x="8536" y="777"/>
                </a:lnTo>
                <a:lnTo>
                  <a:pt x="8413" y="1553"/>
                </a:lnTo>
                <a:lnTo>
                  <a:pt x="8290" y="2330"/>
                </a:lnTo>
                <a:lnTo>
                  <a:pt x="8168" y="3107"/>
                </a:lnTo>
                <a:lnTo>
                  <a:pt x="8045" y="3883"/>
                </a:lnTo>
                <a:lnTo>
                  <a:pt x="7922" y="4660"/>
                </a:lnTo>
                <a:lnTo>
                  <a:pt x="7799" y="5437"/>
                </a:lnTo>
                <a:lnTo>
                  <a:pt x="7677" y="6214"/>
                </a:lnTo>
                <a:lnTo>
                  <a:pt x="7552" y="5437"/>
                </a:lnTo>
                <a:lnTo>
                  <a:pt x="7428" y="4660"/>
                </a:lnTo>
                <a:lnTo>
                  <a:pt x="7304" y="3883"/>
                </a:lnTo>
                <a:lnTo>
                  <a:pt x="7180" y="3107"/>
                </a:lnTo>
                <a:lnTo>
                  <a:pt x="7055" y="2330"/>
                </a:lnTo>
                <a:lnTo>
                  <a:pt x="6931" y="1553"/>
                </a:lnTo>
                <a:lnTo>
                  <a:pt x="6807" y="777"/>
                </a:lnTo>
                <a:lnTo>
                  <a:pt x="6683" y="0"/>
                </a:lnTo>
                <a:lnTo>
                  <a:pt x="5921" y="0"/>
                </a:lnTo>
                <a:lnTo>
                  <a:pt x="5159" y="0"/>
                </a:lnTo>
                <a:lnTo>
                  <a:pt x="5036" y="777"/>
                </a:lnTo>
                <a:lnTo>
                  <a:pt x="4913" y="1553"/>
                </a:lnTo>
                <a:lnTo>
                  <a:pt x="4790" y="2330"/>
                </a:lnTo>
                <a:lnTo>
                  <a:pt x="4668" y="3107"/>
                </a:lnTo>
                <a:lnTo>
                  <a:pt x="4545" y="3883"/>
                </a:lnTo>
                <a:lnTo>
                  <a:pt x="4423" y="4660"/>
                </a:lnTo>
                <a:lnTo>
                  <a:pt x="4300" y="5437"/>
                </a:lnTo>
                <a:lnTo>
                  <a:pt x="4178" y="6214"/>
                </a:lnTo>
                <a:lnTo>
                  <a:pt x="4053" y="5437"/>
                </a:lnTo>
                <a:lnTo>
                  <a:pt x="3929" y="4660"/>
                </a:lnTo>
                <a:lnTo>
                  <a:pt x="3804" y="3883"/>
                </a:lnTo>
                <a:lnTo>
                  <a:pt x="3680" y="3107"/>
                </a:lnTo>
                <a:lnTo>
                  <a:pt x="3555" y="2330"/>
                </a:lnTo>
                <a:lnTo>
                  <a:pt x="3431" y="1553"/>
                </a:lnTo>
                <a:lnTo>
                  <a:pt x="3307" y="777"/>
                </a:lnTo>
                <a:lnTo>
                  <a:pt x="3183" y="0"/>
                </a:lnTo>
                <a:lnTo>
                  <a:pt x="2422" y="0"/>
                </a:lnTo>
                <a:lnTo>
                  <a:pt x="1660" y="0"/>
                </a:lnTo>
                <a:lnTo>
                  <a:pt x="1537" y="777"/>
                </a:lnTo>
                <a:lnTo>
                  <a:pt x="1414" y="1553"/>
                </a:lnTo>
                <a:lnTo>
                  <a:pt x="1291" y="2330"/>
                </a:lnTo>
                <a:lnTo>
                  <a:pt x="1169" y="3107"/>
                </a:lnTo>
                <a:lnTo>
                  <a:pt x="1046" y="3883"/>
                </a:lnTo>
                <a:lnTo>
                  <a:pt x="923" y="4660"/>
                </a:lnTo>
                <a:lnTo>
                  <a:pt x="800" y="5437"/>
                </a:lnTo>
                <a:lnTo>
                  <a:pt x="678" y="6214"/>
                </a:lnTo>
                <a:lnTo>
                  <a:pt x="508" y="5154"/>
                </a:lnTo>
                <a:lnTo>
                  <a:pt x="339" y="4095"/>
                </a:lnTo>
                <a:lnTo>
                  <a:pt x="169" y="3035"/>
                </a:lnTo>
                <a:lnTo>
                  <a:pt x="0" y="1975"/>
                </a:lnTo>
                <a:lnTo>
                  <a:pt x="0" y="3104"/>
                </a:lnTo>
                <a:lnTo>
                  <a:pt x="0" y="4232"/>
                </a:lnTo>
                <a:lnTo>
                  <a:pt x="0" y="5361"/>
                </a:lnTo>
                <a:lnTo>
                  <a:pt x="0" y="6490"/>
                </a:lnTo>
                <a:lnTo>
                  <a:pt x="0" y="7619"/>
                </a:lnTo>
                <a:lnTo>
                  <a:pt x="0" y="8749"/>
                </a:lnTo>
                <a:lnTo>
                  <a:pt x="0" y="9877"/>
                </a:lnTo>
                <a:lnTo>
                  <a:pt x="0" y="11007"/>
                </a:lnTo>
                <a:lnTo>
                  <a:pt x="169" y="9934"/>
                </a:lnTo>
                <a:lnTo>
                  <a:pt x="339" y="8861"/>
                </a:lnTo>
                <a:lnTo>
                  <a:pt x="508" y="7788"/>
                </a:lnTo>
                <a:lnTo>
                  <a:pt x="678" y="6716"/>
                </a:lnTo>
                <a:lnTo>
                  <a:pt x="802" y="7493"/>
                </a:lnTo>
                <a:lnTo>
                  <a:pt x="926" y="8270"/>
                </a:lnTo>
                <a:lnTo>
                  <a:pt x="1050" y="9047"/>
                </a:lnTo>
                <a:lnTo>
                  <a:pt x="1175" y="9823"/>
                </a:lnTo>
                <a:lnTo>
                  <a:pt x="1299" y="10600"/>
                </a:lnTo>
                <a:lnTo>
                  <a:pt x="1423" y="11377"/>
                </a:lnTo>
                <a:lnTo>
                  <a:pt x="1547" y="12153"/>
                </a:lnTo>
                <a:lnTo>
                  <a:pt x="1672" y="12930"/>
                </a:lnTo>
                <a:lnTo>
                  <a:pt x="2434" y="12930"/>
                </a:lnTo>
                <a:lnTo>
                  <a:pt x="3196" y="12930"/>
                </a:lnTo>
                <a:lnTo>
                  <a:pt x="3318" y="12153"/>
                </a:lnTo>
                <a:lnTo>
                  <a:pt x="3441" y="11377"/>
                </a:lnTo>
                <a:lnTo>
                  <a:pt x="3563" y="10600"/>
                </a:lnTo>
                <a:lnTo>
                  <a:pt x="3686" y="9823"/>
                </a:lnTo>
                <a:lnTo>
                  <a:pt x="3808" y="9047"/>
                </a:lnTo>
                <a:lnTo>
                  <a:pt x="3931" y="8270"/>
                </a:lnTo>
                <a:lnTo>
                  <a:pt x="4054" y="7493"/>
                </a:lnTo>
                <a:lnTo>
                  <a:pt x="4177" y="6716"/>
                </a:lnTo>
                <a:lnTo>
                  <a:pt x="4301" y="7493"/>
                </a:lnTo>
                <a:lnTo>
                  <a:pt x="4425" y="8270"/>
                </a:lnTo>
                <a:lnTo>
                  <a:pt x="4549" y="9047"/>
                </a:lnTo>
                <a:lnTo>
                  <a:pt x="4674" y="9823"/>
                </a:lnTo>
                <a:lnTo>
                  <a:pt x="4798" y="10600"/>
                </a:lnTo>
                <a:lnTo>
                  <a:pt x="4922" y="11377"/>
                </a:lnTo>
                <a:lnTo>
                  <a:pt x="5046" y="12153"/>
                </a:lnTo>
                <a:lnTo>
                  <a:pt x="5171" y="12930"/>
                </a:lnTo>
                <a:lnTo>
                  <a:pt x="5933" y="12930"/>
                </a:lnTo>
                <a:lnTo>
                  <a:pt x="6695" y="12930"/>
                </a:lnTo>
                <a:lnTo>
                  <a:pt x="6817" y="12153"/>
                </a:lnTo>
                <a:lnTo>
                  <a:pt x="6940" y="11377"/>
                </a:lnTo>
                <a:lnTo>
                  <a:pt x="7063" y="10600"/>
                </a:lnTo>
                <a:lnTo>
                  <a:pt x="7186" y="9823"/>
                </a:lnTo>
                <a:lnTo>
                  <a:pt x="7308" y="9047"/>
                </a:lnTo>
                <a:lnTo>
                  <a:pt x="7431" y="8270"/>
                </a:lnTo>
                <a:lnTo>
                  <a:pt x="7554" y="7493"/>
                </a:lnTo>
                <a:lnTo>
                  <a:pt x="7677" y="6716"/>
                </a:lnTo>
                <a:lnTo>
                  <a:pt x="7801" y="7493"/>
                </a:lnTo>
                <a:lnTo>
                  <a:pt x="7925" y="8270"/>
                </a:lnTo>
                <a:lnTo>
                  <a:pt x="8049" y="9047"/>
                </a:lnTo>
                <a:lnTo>
                  <a:pt x="8174" y="9823"/>
                </a:lnTo>
                <a:lnTo>
                  <a:pt x="8298" y="10600"/>
                </a:lnTo>
                <a:lnTo>
                  <a:pt x="8422" y="11377"/>
                </a:lnTo>
                <a:lnTo>
                  <a:pt x="8546" y="12153"/>
                </a:lnTo>
                <a:lnTo>
                  <a:pt x="8671" y="12930"/>
                </a:lnTo>
                <a:lnTo>
                  <a:pt x="9432" y="12930"/>
                </a:lnTo>
                <a:lnTo>
                  <a:pt x="10194" y="12930"/>
                </a:lnTo>
                <a:lnTo>
                  <a:pt x="10316" y="12153"/>
                </a:lnTo>
                <a:lnTo>
                  <a:pt x="10439" y="11377"/>
                </a:lnTo>
                <a:lnTo>
                  <a:pt x="10562" y="10600"/>
                </a:lnTo>
                <a:lnTo>
                  <a:pt x="10685" y="9823"/>
                </a:lnTo>
                <a:lnTo>
                  <a:pt x="10807" y="9047"/>
                </a:lnTo>
                <a:lnTo>
                  <a:pt x="10930" y="8270"/>
                </a:lnTo>
                <a:lnTo>
                  <a:pt x="11053" y="7493"/>
                </a:lnTo>
                <a:lnTo>
                  <a:pt x="11176" y="6716"/>
                </a:lnTo>
                <a:lnTo>
                  <a:pt x="11300" y="7493"/>
                </a:lnTo>
                <a:lnTo>
                  <a:pt x="11424" y="8270"/>
                </a:lnTo>
                <a:lnTo>
                  <a:pt x="11548" y="9047"/>
                </a:lnTo>
                <a:lnTo>
                  <a:pt x="11673" y="9823"/>
                </a:lnTo>
                <a:lnTo>
                  <a:pt x="11797" y="10600"/>
                </a:lnTo>
                <a:lnTo>
                  <a:pt x="11921" y="11377"/>
                </a:lnTo>
                <a:lnTo>
                  <a:pt x="12045" y="12153"/>
                </a:lnTo>
                <a:lnTo>
                  <a:pt x="12170" y="12930"/>
                </a:lnTo>
                <a:lnTo>
                  <a:pt x="12931" y="12930"/>
                </a:lnTo>
                <a:lnTo>
                  <a:pt x="13694" y="12930"/>
                </a:lnTo>
                <a:lnTo>
                  <a:pt x="13816" y="12153"/>
                </a:lnTo>
                <a:lnTo>
                  <a:pt x="13939" y="11377"/>
                </a:lnTo>
                <a:lnTo>
                  <a:pt x="14062" y="10600"/>
                </a:lnTo>
                <a:lnTo>
                  <a:pt x="14185" y="9823"/>
                </a:lnTo>
                <a:lnTo>
                  <a:pt x="14307" y="9047"/>
                </a:lnTo>
                <a:lnTo>
                  <a:pt x="14430" y="8270"/>
                </a:lnTo>
                <a:lnTo>
                  <a:pt x="14553" y="7493"/>
                </a:lnTo>
                <a:lnTo>
                  <a:pt x="14676" y="6716"/>
                </a:lnTo>
                <a:lnTo>
                  <a:pt x="14848" y="7791"/>
                </a:lnTo>
                <a:lnTo>
                  <a:pt x="15020" y="8867"/>
                </a:lnTo>
                <a:lnTo>
                  <a:pt x="15192" y="9943"/>
                </a:lnTo>
                <a:lnTo>
                  <a:pt x="15364" y="11019"/>
                </a:lnTo>
                <a:lnTo>
                  <a:pt x="15364" y="9873"/>
                </a:lnTo>
                <a:lnTo>
                  <a:pt x="15364" y="8728"/>
                </a:lnTo>
                <a:lnTo>
                  <a:pt x="15364" y="7583"/>
                </a:lnTo>
                <a:lnTo>
                  <a:pt x="15364" y="6438"/>
                </a:lnTo>
                <a:lnTo>
                  <a:pt x="15364" y="5293"/>
                </a:lnTo>
                <a:lnTo>
                  <a:pt x="15364" y="4148"/>
                </a:lnTo>
                <a:lnTo>
                  <a:pt x="15364" y="3004"/>
                </a:lnTo>
                <a:lnTo>
                  <a:pt x="15364" y="1859"/>
                </a:lnTo>
                <a:close/>
                <a:moveTo>
                  <a:pt x="2434" y="12679"/>
                </a:moveTo>
                <a:lnTo>
                  <a:pt x="2309" y="11902"/>
                </a:lnTo>
                <a:lnTo>
                  <a:pt x="2185" y="11125"/>
                </a:lnTo>
                <a:lnTo>
                  <a:pt x="2061" y="10348"/>
                </a:lnTo>
                <a:lnTo>
                  <a:pt x="1937" y="9572"/>
                </a:lnTo>
                <a:lnTo>
                  <a:pt x="1811" y="8795"/>
                </a:lnTo>
                <a:lnTo>
                  <a:pt x="1687" y="8018"/>
                </a:lnTo>
                <a:lnTo>
                  <a:pt x="1563" y="7242"/>
                </a:lnTo>
                <a:lnTo>
                  <a:pt x="1439" y="6465"/>
                </a:lnTo>
                <a:lnTo>
                  <a:pt x="1561" y="5688"/>
                </a:lnTo>
                <a:lnTo>
                  <a:pt x="1684" y="4912"/>
                </a:lnTo>
                <a:lnTo>
                  <a:pt x="1807" y="4135"/>
                </a:lnTo>
                <a:lnTo>
                  <a:pt x="1931" y="3358"/>
                </a:lnTo>
                <a:lnTo>
                  <a:pt x="2053" y="2582"/>
                </a:lnTo>
                <a:lnTo>
                  <a:pt x="2176" y="1805"/>
                </a:lnTo>
                <a:lnTo>
                  <a:pt x="2299" y="1028"/>
                </a:lnTo>
                <a:lnTo>
                  <a:pt x="2422" y="251"/>
                </a:lnTo>
                <a:lnTo>
                  <a:pt x="2546" y="1028"/>
                </a:lnTo>
                <a:lnTo>
                  <a:pt x="2670" y="1805"/>
                </a:lnTo>
                <a:lnTo>
                  <a:pt x="2794" y="2582"/>
                </a:lnTo>
                <a:lnTo>
                  <a:pt x="2919" y="3358"/>
                </a:lnTo>
                <a:lnTo>
                  <a:pt x="3043" y="4135"/>
                </a:lnTo>
                <a:lnTo>
                  <a:pt x="3167" y="4912"/>
                </a:lnTo>
                <a:lnTo>
                  <a:pt x="3291" y="5688"/>
                </a:lnTo>
                <a:lnTo>
                  <a:pt x="3416" y="6465"/>
                </a:lnTo>
                <a:lnTo>
                  <a:pt x="3293" y="7242"/>
                </a:lnTo>
                <a:lnTo>
                  <a:pt x="3170" y="8018"/>
                </a:lnTo>
                <a:lnTo>
                  <a:pt x="3047" y="8795"/>
                </a:lnTo>
                <a:lnTo>
                  <a:pt x="2925" y="9572"/>
                </a:lnTo>
                <a:lnTo>
                  <a:pt x="2802" y="10348"/>
                </a:lnTo>
                <a:lnTo>
                  <a:pt x="2679" y="11125"/>
                </a:lnTo>
                <a:lnTo>
                  <a:pt x="2556" y="11902"/>
                </a:lnTo>
                <a:lnTo>
                  <a:pt x="2434" y="12679"/>
                </a:lnTo>
                <a:close/>
                <a:moveTo>
                  <a:pt x="5934" y="12679"/>
                </a:moveTo>
                <a:lnTo>
                  <a:pt x="5809" y="11902"/>
                </a:lnTo>
                <a:lnTo>
                  <a:pt x="5684" y="11125"/>
                </a:lnTo>
                <a:lnTo>
                  <a:pt x="5560" y="10348"/>
                </a:lnTo>
                <a:lnTo>
                  <a:pt x="5436" y="9572"/>
                </a:lnTo>
                <a:lnTo>
                  <a:pt x="5311" y="8795"/>
                </a:lnTo>
                <a:lnTo>
                  <a:pt x="5187" y="8018"/>
                </a:lnTo>
                <a:lnTo>
                  <a:pt x="5063" y="7242"/>
                </a:lnTo>
                <a:lnTo>
                  <a:pt x="4939" y="6465"/>
                </a:lnTo>
                <a:lnTo>
                  <a:pt x="5061" y="5688"/>
                </a:lnTo>
                <a:lnTo>
                  <a:pt x="5184" y="4912"/>
                </a:lnTo>
                <a:lnTo>
                  <a:pt x="5306" y="4135"/>
                </a:lnTo>
                <a:lnTo>
                  <a:pt x="5429" y="3358"/>
                </a:lnTo>
                <a:lnTo>
                  <a:pt x="5551" y="2582"/>
                </a:lnTo>
                <a:lnTo>
                  <a:pt x="5674" y="1805"/>
                </a:lnTo>
                <a:lnTo>
                  <a:pt x="5798" y="1028"/>
                </a:lnTo>
                <a:lnTo>
                  <a:pt x="5921" y="251"/>
                </a:lnTo>
                <a:lnTo>
                  <a:pt x="6045" y="1028"/>
                </a:lnTo>
                <a:lnTo>
                  <a:pt x="6169" y="1805"/>
                </a:lnTo>
                <a:lnTo>
                  <a:pt x="6293" y="2582"/>
                </a:lnTo>
                <a:lnTo>
                  <a:pt x="6418" y="3358"/>
                </a:lnTo>
                <a:lnTo>
                  <a:pt x="6542" y="4135"/>
                </a:lnTo>
                <a:lnTo>
                  <a:pt x="6667" y="4912"/>
                </a:lnTo>
                <a:lnTo>
                  <a:pt x="6791" y="5688"/>
                </a:lnTo>
                <a:lnTo>
                  <a:pt x="6916" y="6465"/>
                </a:lnTo>
                <a:lnTo>
                  <a:pt x="6793" y="7242"/>
                </a:lnTo>
                <a:lnTo>
                  <a:pt x="6670" y="8018"/>
                </a:lnTo>
                <a:lnTo>
                  <a:pt x="6547" y="8795"/>
                </a:lnTo>
                <a:lnTo>
                  <a:pt x="6425" y="9572"/>
                </a:lnTo>
                <a:lnTo>
                  <a:pt x="6302" y="10348"/>
                </a:lnTo>
                <a:lnTo>
                  <a:pt x="6179" y="11125"/>
                </a:lnTo>
                <a:lnTo>
                  <a:pt x="6056" y="11902"/>
                </a:lnTo>
                <a:lnTo>
                  <a:pt x="5934" y="12679"/>
                </a:lnTo>
                <a:close/>
                <a:moveTo>
                  <a:pt x="9432" y="12679"/>
                </a:moveTo>
                <a:lnTo>
                  <a:pt x="9307" y="11902"/>
                </a:lnTo>
                <a:lnTo>
                  <a:pt x="9183" y="11125"/>
                </a:lnTo>
                <a:lnTo>
                  <a:pt x="9059" y="10348"/>
                </a:lnTo>
                <a:lnTo>
                  <a:pt x="8935" y="9572"/>
                </a:lnTo>
                <a:lnTo>
                  <a:pt x="8810" y="8795"/>
                </a:lnTo>
                <a:lnTo>
                  <a:pt x="8686" y="8018"/>
                </a:lnTo>
                <a:lnTo>
                  <a:pt x="8562" y="7242"/>
                </a:lnTo>
                <a:lnTo>
                  <a:pt x="8438" y="6465"/>
                </a:lnTo>
                <a:lnTo>
                  <a:pt x="8560" y="5688"/>
                </a:lnTo>
                <a:lnTo>
                  <a:pt x="8683" y="4912"/>
                </a:lnTo>
                <a:lnTo>
                  <a:pt x="8806" y="4135"/>
                </a:lnTo>
                <a:lnTo>
                  <a:pt x="8929" y="3358"/>
                </a:lnTo>
                <a:lnTo>
                  <a:pt x="9051" y="2582"/>
                </a:lnTo>
                <a:lnTo>
                  <a:pt x="9174" y="1805"/>
                </a:lnTo>
                <a:lnTo>
                  <a:pt x="9297" y="1028"/>
                </a:lnTo>
                <a:lnTo>
                  <a:pt x="9420" y="251"/>
                </a:lnTo>
                <a:lnTo>
                  <a:pt x="9544" y="1028"/>
                </a:lnTo>
                <a:lnTo>
                  <a:pt x="9669" y="1805"/>
                </a:lnTo>
                <a:lnTo>
                  <a:pt x="9793" y="2582"/>
                </a:lnTo>
                <a:lnTo>
                  <a:pt x="9918" y="3358"/>
                </a:lnTo>
                <a:lnTo>
                  <a:pt x="10042" y="4135"/>
                </a:lnTo>
                <a:lnTo>
                  <a:pt x="10166" y="4912"/>
                </a:lnTo>
                <a:lnTo>
                  <a:pt x="10290" y="5688"/>
                </a:lnTo>
                <a:lnTo>
                  <a:pt x="10415" y="6465"/>
                </a:lnTo>
                <a:lnTo>
                  <a:pt x="10292" y="7242"/>
                </a:lnTo>
                <a:lnTo>
                  <a:pt x="10169" y="8018"/>
                </a:lnTo>
                <a:lnTo>
                  <a:pt x="10046" y="8795"/>
                </a:lnTo>
                <a:lnTo>
                  <a:pt x="9924" y="9572"/>
                </a:lnTo>
                <a:lnTo>
                  <a:pt x="9801" y="10348"/>
                </a:lnTo>
                <a:lnTo>
                  <a:pt x="9678" y="11125"/>
                </a:lnTo>
                <a:lnTo>
                  <a:pt x="9554" y="11902"/>
                </a:lnTo>
                <a:lnTo>
                  <a:pt x="9432" y="12679"/>
                </a:lnTo>
                <a:close/>
                <a:moveTo>
                  <a:pt x="12932" y="12679"/>
                </a:moveTo>
                <a:lnTo>
                  <a:pt x="12807" y="11902"/>
                </a:lnTo>
                <a:lnTo>
                  <a:pt x="12683" y="11125"/>
                </a:lnTo>
                <a:lnTo>
                  <a:pt x="12559" y="10348"/>
                </a:lnTo>
                <a:lnTo>
                  <a:pt x="12435" y="9572"/>
                </a:lnTo>
                <a:lnTo>
                  <a:pt x="12310" y="8795"/>
                </a:lnTo>
                <a:lnTo>
                  <a:pt x="12186" y="8018"/>
                </a:lnTo>
                <a:lnTo>
                  <a:pt x="12062" y="7242"/>
                </a:lnTo>
                <a:lnTo>
                  <a:pt x="11938" y="6465"/>
                </a:lnTo>
                <a:lnTo>
                  <a:pt x="12060" y="5688"/>
                </a:lnTo>
                <a:lnTo>
                  <a:pt x="12183" y="4912"/>
                </a:lnTo>
                <a:lnTo>
                  <a:pt x="12306" y="4135"/>
                </a:lnTo>
                <a:lnTo>
                  <a:pt x="12429" y="3358"/>
                </a:lnTo>
                <a:lnTo>
                  <a:pt x="12551" y="2582"/>
                </a:lnTo>
                <a:lnTo>
                  <a:pt x="12674" y="1805"/>
                </a:lnTo>
                <a:lnTo>
                  <a:pt x="12797" y="1028"/>
                </a:lnTo>
                <a:lnTo>
                  <a:pt x="12920" y="251"/>
                </a:lnTo>
                <a:lnTo>
                  <a:pt x="13044" y="1028"/>
                </a:lnTo>
                <a:lnTo>
                  <a:pt x="13168" y="1805"/>
                </a:lnTo>
                <a:lnTo>
                  <a:pt x="13292" y="2582"/>
                </a:lnTo>
                <a:lnTo>
                  <a:pt x="13416" y="3358"/>
                </a:lnTo>
                <a:lnTo>
                  <a:pt x="13541" y="4135"/>
                </a:lnTo>
                <a:lnTo>
                  <a:pt x="13665" y="4912"/>
                </a:lnTo>
                <a:lnTo>
                  <a:pt x="13789" y="5688"/>
                </a:lnTo>
                <a:lnTo>
                  <a:pt x="13914" y="6465"/>
                </a:lnTo>
                <a:lnTo>
                  <a:pt x="13791" y="7242"/>
                </a:lnTo>
                <a:lnTo>
                  <a:pt x="13668" y="8018"/>
                </a:lnTo>
                <a:lnTo>
                  <a:pt x="13545" y="8795"/>
                </a:lnTo>
                <a:lnTo>
                  <a:pt x="13422" y="9572"/>
                </a:lnTo>
                <a:lnTo>
                  <a:pt x="13299" y="10348"/>
                </a:lnTo>
                <a:lnTo>
                  <a:pt x="13177" y="11125"/>
                </a:lnTo>
                <a:lnTo>
                  <a:pt x="13054" y="11902"/>
                </a:lnTo>
                <a:lnTo>
                  <a:pt x="12932" y="12679"/>
                </a:lnTo>
                <a:close/>
              </a:path>
            </a:pathLst>
          </a:custGeom>
          <a:solidFill>
            <a:srgbClr val="4E04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8BE0E7-0365-F946-B6B1-FF9B28EA360A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916DE49-47B5-41D4-A620-19C724EC6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3023317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9359BB7E-BB55-F1A5-C797-E99A3AB308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61221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2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9">
            <a:extLst>
              <a:ext uri="{FF2B5EF4-FFF2-40B4-BE49-F238E27FC236}">
                <a16:creationId xmlns:a16="http://schemas.microsoft.com/office/drawing/2014/main" id="{FBEBA947-C325-40EA-8495-82543553A7DB}"/>
              </a:ext>
            </a:extLst>
          </p:cNvPr>
          <p:cNvSpPr>
            <a:spLocks noEditPoints="1"/>
          </p:cNvSpPr>
          <p:nvPr/>
        </p:nvSpPr>
        <p:spPr bwMode="auto">
          <a:xfrm>
            <a:off x="0" y="0"/>
            <a:ext cx="12188826" cy="6858000"/>
          </a:xfrm>
          <a:custGeom>
            <a:avLst/>
            <a:gdLst>
              <a:gd name="T0" fmla="*/ 1012 w 23040"/>
              <a:gd name="T1" fmla="*/ 7893 h 12948"/>
              <a:gd name="T2" fmla="*/ 168 w 23040"/>
              <a:gd name="T3" fmla="*/ 1549 h 12948"/>
              <a:gd name="T4" fmla="*/ 1023 w 23040"/>
              <a:gd name="T5" fmla="*/ 5006 h 12948"/>
              <a:gd name="T6" fmla="*/ 2692 w 23040"/>
              <a:gd name="T7" fmla="*/ 802 h 12948"/>
              <a:gd name="T8" fmla="*/ 1564 w 23040"/>
              <a:gd name="T9" fmla="*/ 5661 h 12948"/>
              <a:gd name="T10" fmla="*/ 2927 w 23040"/>
              <a:gd name="T11" fmla="*/ 12948 h 12948"/>
              <a:gd name="T12" fmla="*/ 1362 w 23040"/>
              <a:gd name="T13" fmla="*/ 6522 h 12948"/>
              <a:gd name="T14" fmla="*/ 1356 w 23040"/>
              <a:gd name="T15" fmla="*/ 6446 h 12948"/>
              <a:gd name="T16" fmla="*/ 21672 w 23040"/>
              <a:gd name="T17" fmla="*/ 6471 h 12948"/>
              <a:gd name="T18" fmla="*/ 22362 w 23040"/>
              <a:gd name="T19" fmla="*/ 9295 h 12948"/>
              <a:gd name="T20" fmla="*/ 22520 w 23040"/>
              <a:gd name="T21" fmla="*/ 10054 h 12948"/>
              <a:gd name="T22" fmla="*/ 20911 w 23040"/>
              <a:gd name="T23" fmla="*/ 9735 h 12948"/>
              <a:gd name="T24" fmla="*/ 20701 w 23040"/>
              <a:gd name="T25" fmla="*/ 10518 h 12948"/>
              <a:gd name="T26" fmla="*/ 20884 w 23040"/>
              <a:gd name="T27" fmla="*/ 3234 h 12948"/>
              <a:gd name="T28" fmla="*/ 20902 w 23040"/>
              <a:gd name="T29" fmla="*/ 3209 h 12948"/>
              <a:gd name="T30" fmla="*/ 22520 w 23040"/>
              <a:gd name="T31" fmla="*/ 2842 h 12948"/>
              <a:gd name="T32" fmla="*/ 22362 w 23040"/>
              <a:gd name="T33" fmla="*/ 3611 h 12948"/>
              <a:gd name="T34" fmla="*/ 18288 w 23040"/>
              <a:gd name="T35" fmla="*/ 6470 h 12948"/>
              <a:gd name="T36" fmla="*/ 18874 w 23040"/>
              <a:gd name="T37" fmla="*/ 4044 h 12948"/>
              <a:gd name="T38" fmla="*/ 19465 w 23040"/>
              <a:gd name="T39" fmla="*/ 11329 h 12948"/>
              <a:gd name="T40" fmla="*/ 18673 w 23040"/>
              <a:gd name="T41" fmla="*/ 8128 h 12948"/>
              <a:gd name="T42" fmla="*/ 16955 w 23040"/>
              <a:gd name="T43" fmla="*/ 12144 h 12948"/>
              <a:gd name="T44" fmla="*/ 18084 w 23040"/>
              <a:gd name="T45" fmla="*/ 7279 h 12948"/>
              <a:gd name="T46" fmla="*/ 16722 w 23040"/>
              <a:gd name="T47" fmla="*/ 0 h 12948"/>
              <a:gd name="T48" fmla="*/ 18288 w 23040"/>
              <a:gd name="T49" fmla="*/ 6419 h 12948"/>
              <a:gd name="T50" fmla="*/ 14908 w 23040"/>
              <a:gd name="T51" fmla="*/ 6495 h 12948"/>
              <a:gd name="T52" fmla="*/ 16256 w 23040"/>
              <a:gd name="T53" fmla="*/ 808 h 12948"/>
              <a:gd name="T54" fmla="*/ 15304 w 23040"/>
              <a:gd name="T55" fmla="*/ 8090 h 12948"/>
              <a:gd name="T56" fmla="*/ 16058 w 23040"/>
              <a:gd name="T57" fmla="*/ 11341 h 12948"/>
              <a:gd name="T58" fmla="*/ 14330 w 23040"/>
              <a:gd name="T59" fmla="*/ 8931 h 12948"/>
              <a:gd name="T60" fmla="*/ 13930 w 23040"/>
              <a:gd name="T61" fmla="*/ 10518 h 12948"/>
              <a:gd name="T62" fmla="*/ 14113 w 23040"/>
              <a:gd name="T63" fmla="*/ 3234 h 12948"/>
              <a:gd name="T64" fmla="*/ 14131 w 23040"/>
              <a:gd name="T65" fmla="*/ 3209 h 12948"/>
              <a:gd name="T66" fmla="*/ 15852 w 23040"/>
              <a:gd name="T67" fmla="*/ 2406 h 12948"/>
              <a:gd name="T68" fmla="*/ 11511 w 23040"/>
              <a:gd name="T69" fmla="*/ 6495 h 12948"/>
              <a:gd name="T70" fmla="*/ 11911 w 23040"/>
              <a:gd name="T71" fmla="*/ 4853 h 12948"/>
              <a:gd name="T72" fmla="*/ 12888 w 23040"/>
              <a:gd name="T73" fmla="*/ 12138 h 12948"/>
              <a:gd name="T74" fmla="*/ 11709 w 23040"/>
              <a:gd name="T75" fmla="*/ 7324 h 12948"/>
              <a:gd name="T76" fmla="*/ 9995 w 23040"/>
              <a:gd name="T77" fmla="*/ 12948 h 12948"/>
              <a:gd name="T78" fmla="*/ 11505 w 23040"/>
              <a:gd name="T79" fmla="*/ 6470 h 12948"/>
              <a:gd name="T80" fmla="*/ 9977 w 23040"/>
              <a:gd name="T81" fmla="*/ 0 h 12948"/>
              <a:gd name="T82" fmla="*/ 11706 w 23040"/>
              <a:gd name="T83" fmla="*/ 5615 h 12948"/>
              <a:gd name="T84" fmla="*/ 8132 w 23040"/>
              <a:gd name="T85" fmla="*/ 6471 h 12948"/>
              <a:gd name="T86" fmla="*/ 9293 w 23040"/>
              <a:gd name="T87" fmla="*/ 1618 h 12948"/>
              <a:gd name="T88" fmla="*/ 8726 w 23040"/>
              <a:gd name="T89" fmla="*/ 8900 h 12948"/>
              <a:gd name="T90" fmla="*/ 9095 w 23040"/>
              <a:gd name="T91" fmla="*/ 10537 h 12948"/>
              <a:gd name="T92" fmla="*/ 7371 w 23040"/>
              <a:gd name="T93" fmla="*/ 9735 h 12948"/>
              <a:gd name="T94" fmla="*/ 7351 w 23040"/>
              <a:gd name="T95" fmla="*/ 9708 h 12948"/>
              <a:gd name="T96" fmla="*/ 7147 w 23040"/>
              <a:gd name="T97" fmla="*/ 2424 h 12948"/>
              <a:gd name="T98" fmla="*/ 7554 w 23040"/>
              <a:gd name="T99" fmla="*/ 4011 h 12948"/>
              <a:gd name="T100" fmla="*/ 9272 w 23040"/>
              <a:gd name="T101" fmla="*/ 1604 h 12948"/>
              <a:gd name="T102" fmla="*/ 4752 w 23040"/>
              <a:gd name="T103" fmla="*/ 6495 h 12948"/>
              <a:gd name="T104" fmla="*/ 4949 w 23040"/>
              <a:gd name="T105" fmla="*/ 5661 h 12948"/>
              <a:gd name="T106" fmla="*/ 6313 w 23040"/>
              <a:gd name="T107" fmla="*/ 12948 h 12948"/>
              <a:gd name="T108" fmla="*/ 4746 w 23040"/>
              <a:gd name="T109" fmla="*/ 6522 h 12948"/>
              <a:gd name="T110" fmla="*/ 3199 w 23040"/>
              <a:gd name="T111" fmla="*/ 12948 h 12948"/>
              <a:gd name="T112" fmla="*/ 4539 w 23040"/>
              <a:gd name="T113" fmla="*/ 5660 h 12948"/>
              <a:gd name="T114" fmla="*/ 3398 w 23040"/>
              <a:gd name="T115" fmla="*/ 802 h 12948"/>
              <a:gd name="T116" fmla="*/ 5126 w 23040"/>
              <a:gd name="T117" fmla="*/ 4813 h 12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40" h="12948">
                <a:moveTo>
                  <a:pt x="6" y="12243"/>
                </a:moveTo>
                <a:lnTo>
                  <a:pt x="0" y="12267"/>
                </a:lnTo>
                <a:lnTo>
                  <a:pt x="0" y="12162"/>
                </a:lnTo>
                <a:lnTo>
                  <a:pt x="168" y="11450"/>
                </a:lnTo>
                <a:lnTo>
                  <a:pt x="337" y="10739"/>
                </a:lnTo>
                <a:lnTo>
                  <a:pt x="505" y="10027"/>
                </a:lnTo>
                <a:lnTo>
                  <a:pt x="675" y="9316"/>
                </a:lnTo>
                <a:lnTo>
                  <a:pt x="843" y="8604"/>
                </a:lnTo>
                <a:lnTo>
                  <a:pt x="1012" y="7893"/>
                </a:lnTo>
                <a:lnTo>
                  <a:pt x="1180" y="7180"/>
                </a:lnTo>
                <a:lnTo>
                  <a:pt x="1350" y="6470"/>
                </a:lnTo>
                <a:lnTo>
                  <a:pt x="1180" y="5766"/>
                </a:lnTo>
                <a:lnTo>
                  <a:pt x="1012" y="5063"/>
                </a:lnTo>
                <a:lnTo>
                  <a:pt x="843" y="4359"/>
                </a:lnTo>
                <a:lnTo>
                  <a:pt x="675" y="3658"/>
                </a:lnTo>
                <a:lnTo>
                  <a:pt x="505" y="2954"/>
                </a:lnTo>
                <a:lnTo>
                  <a:pt x="337" y="2252"/>
                </a:lnTo>
                <a:lnTo>
                  <a:pt x="168" y="1549"/>
                </a:lnTo>
                <a:lnTo>
                  <a:pt x="0" y="847"/>
                </a:lnTo>
                <a:lnTo>
                  <a:pt x="0" y="769"/>
                </a:lnTo>
                <a:lnTo>
                  <a:pt x="6" y="768"/>
                </a:lnTo>
                <a:lnTo>
                  <a:pt x="175" y="1474"/>
                </a:lnTo>
                <a:lnTo>
                  <a:pt x="345" y="2180"/>
                </a:lnTo>
                <a:lnTo>
                  <a:pt x="514" y="2887"/>
                </a:lnTo>
                <a:lnTo>
                  <a:pt x="684" y="3593"/>
                </a:lnTo>
                <a:lnTo>
                  <a:pt x="853" y="4300"/>
                </a:lnTo>
                <a:lnTo>
                  <a:pt x="1023" y="5006"/>
                </a:lnTo>
                <a:lnTo>
                  <a:pt x="1192" y="5712"/>
                </a:lnTo>
                <a:lnTo>
                  <a:pt x="1362" y="6419"/>
                </a:lnTo>
                <a:lnTo>
                  <a:pt x="1551" y="5615"/>
                </a:lnTo>
                <a:lnTo>
                  <a:pt x="1741" y="4813"/>
                </a:lnTo>
                <a:lnTo>
                  <a:pt x="1931" y="4011"/>
                </a:lnTo>
                <a:lnTo>
                  <a:pt x="2122" y="3209"/>
                </a:lnTo>
                <a:lnTo>
                  <a:pt x="2311" y="2406"/>
                </a:lnTo>
                <a:lnTo>
                  <a:pt x="2501" y="1604"/>
                </a:lnTo>
                <a:lnTo>
                  <a:pt x="2692" y="802"/>
                </a:lnTo>
                <a:lnTo>
                  <a:pt x="2882" y="0"/>
                </a:lnTo>
                <a:lnTo>
                  <a:pt x="2906" y="0"/>
                </a:lnTo>
                <a:lnTo>
                  <a:pt x="2714" y="808"/>
                </a:lnTo>
                <a:lnTo>
                  <a:pt x="2522" y="1618"/>
                </a:lnTo>
                <a:lnTo>
                  <a:pt x="2330" y="2426"/>
                </a:lnTo>
                <a:lnTo>
                  <a:pt x="2140" y="3236"/>
                </a:lnTo>
                <a:lnTo>
                  <a:pt x="1948" y="4044"/>
                </a:lnTo>
                <a:lnTo>
                  <a:pt x="1756" y="4853"/>
                </a:lnTo>
                <a:lnTo>
                  <a:pt x="1564" y="5661"/>
                </a:lnTo>
                <a:lnTo>
                  <a:pt x="1374" y="6471"/>
                </a:lnTo>
                <a:lnTo>
                  <a:pt x="1567" y="7281"/>
                </a:lnTo>
                <a:lnTo>
                  <a:pt x="1762" y="8090"/>
                </a:lnTo>
                <a:lnTo>
                  <a:pt x="1955" y="8900"/>
                </a:lnTo>
                <a:lnTo>
                  <a:pt x="2150" y="9710"/>
                </a:lnTo>
                <a:lnTo>
                  <a:pt x="2344" y="10519"/>
                </a:lnTo>
                <a:lnTo>
                  <a:pt x="2539" y="11329"/>
                </a:lnTo>
                <a:lnTo>
                  <a:pt x="2732" y="12138"/>
                </a:lnTo>
                <a:lnTo>
                  <a:pt x="2927" y="12948"/>
                </a:lnTo>
                <a:lnTo>
                  <a:pt x="2903" y="12948"/>
                </a:lnTo>
                <a:lnTo>
                  <a:pt x="2710" y="12144"/>
                </a:lnTo>
                <a:lnTo>
                  <a:pt x="2518" y="11341"/>
                </a:lnTo>
                <a:lnTo>
                  <a:pt x="2324" y="10537"/>
                </a:lnTo>
                <a:lnTo>
                  <a:pt x="2132" y="9735"/>
                </a:lnTo>
                <a:lnTo>
                  <a:pt x="1939" y="8931"/>
                </a:lnTo>
                <a:lnTo>
                  <a:pt x="1747" y="8128"/>
                </a:lnTo>
                <a:lnTo>
                  <a:pt x="1554" y="7324"/>
                </a:lnTo>
                <a:lnTo>
                  <a:pt x="1362" y="6522"/>
                </a:lnTo>
                <a:lnTo>
                  <a:pt x="1192" y="7236"/>
                </a:lnTo>
                <a:lnTo>
                  <a:pt x="1023" y="7951"/>
                </a:lnTo>
                <a:lnTo>
                  <a:pt x="853" y="8666"/>
                </a:lnTo>
                <a:lnTo>
                  <a:pt x="684" y="9382"/>
                </a:lnTo>
                <a:lnTo>
                  <a:pt x="514" y="10097"/>
                </a:lnTo>
                <a:lnTo>
                  <a:pt x="345" y="10812"/>
                </a:lnTo>
                <a:lnTo>
                  <a:pt x="175" y="11528"/>
                </a:lnTo>
                <a:lnTo>
                  <a:pt x="6" y="12243"/>
                </a:lnTo>
                <a:close/>
                <a:moveTo>
                  <a:pt x="1356" y="6446"/>
                </a:moveTo>
                <a:lnTo>
                  <a:pt x="1362" y="6470"/>
                </a:lnTo>
                <a:lnTo>
                  <a:pt x="1356" y="6495"/>
                </a:lnTo>
                <a:lnTo>
                  <a:pt x="1368" y="6495"/>
                </a:lnTo>
                <a:lnTo>
                  <a:pt x="1362" y="6471"/>
                </a:lnTo>
                <a:lnTo>
                  <a:pt x="1368" y="6446"/>
                </a:lnTo>
                <a:lnTo>
                  <a:pt x="1356" y="6446"/>
                </a:lnTo>
                <a:close/>
                <a:moveTo>
                  <a:pt x="21666" y="6495"/>
                </a:moveTo>
                <a:lnTo>
                  <a:pt x="21678" y="6495"/>
                </a:lnTo>
                <a:lnTo>
                  <a:pt x="21672" y="6471"/>
                </a:lnTo>
                <a:lnTo>
                  <a:pt x="21678" y="6446"/>
                </a:lnTo>
                <a:lnTo>
                  <a:pt x="21666" y="6446"/>
                </a:lnTo>
                <a:lnTo>
                  <a:pt x="21672" y="6470"/>
                </a:lnTo>
                <a:lnTo>
                  <a:pt x="21666" y="6495"/>
                </a:lnTo>
                <a:close/>
                <a:moveTo>
                  <a:pt x="21684" y="6471"/>
                </a:moveTo>
                <a:lnTo>
                  <a:pt x="21854" y="7176"/>
                </a:lnTo>
                <a:lnTo>
                  <a:pt x="22023" y="7882"/>
                </a:lnTo>
                <a:lnTo>
                  <a:pt x="22193" y="8589"/>
                </a:lnTo>
                <a:lnTo>
                  <a:pt x="22362" y="9295"/>
                </a:lnTo>
                <a:lnTo>
                  <a:pt x="22532" y="10000"/>
                </a:lnTo>
                <a:lnTo>
                  <a:pt x="22701" y="10706"/>
                </a:lnTo>
                <a:lnTo>
                  <a:pt x="22871" y="11413"/>
                </a:lnTo>
                <a:lnTo>
                  <a:pt x="23040" y="12119"/>
                </a:lnTo>
                <a:lnTo>
                  <a:pt x="23040" y="12171"/>
                </a:lnTo>
                <a:lnTo>
                  <a:pt x="23028" y="12173"/>
                </a:lnTo>
                <a:lnTo>
                  <a:pt x="22859" y="11466"/>
                </a:lnTo>
                <a:lnTo>
                  <a:pt x="22689" y="10760"/>
                </a:lnTo>
                <a:lnTo>
                  <a:pt x="22520" y="10054"/>
                </a:lnTo>
                <a:lnTo>
                  <a:pt x="22350" y="9347"/>
                </a:lnTo>
                <a:lnTo>
                  <a:pt x="22181" y="8641"/>
                </a:lnTo>
                <a:lnTo>
                  <a:pt x="22011" y="7935"/>
                </a:lnTo>
                <a:lnTo>
                  <a:pt x="21842" y="7228"/>
                </a:lnTo>
                <a:lnTo>
                  <a:pt x="21672" y="6522"/>
                </a:lnTo>
                <a:lnTo>
                  <a:pt x="21482" y="7324"/>
                </a:lnTo>
                <a:lnTo>
                  <a:pt x="21291" y="8128"/>
                </a:lnTo>
                <a:lnTo>
                  <a:pt x="21101" y="8931"/>
                </a:lnTo>
                <a:lnTo>
                  <a:pt x="20911" y="9735"/>
                </a:lnTo>
                <a:lnTo>
                  <a:pt x="20720" y="10537"/>
                </a:lnTo>
                <a:lnTo>
                  <a:pt x="20530" y="11341"/>
                </a:lnTo>
                <a:lnTo>
                  <a:pt x="20339" y="12144"/>
                </a:lnTo>
                <a:lnTo>
                  <a:pt x="20150" y="12948"/>
                </a:lnTo>
                <a:lnTo>
                  <a:pt x="20138" y="12948"/>
                </a:lnTo>
                <a:lnTo>
                  <a:pt x="20125" y="12948"/>
                </a:lnTo>
                <a:lnTo>
                  <a:pt x="20317" y="12137"/>
                </a:lnTo>
                <a:lnTo>
                  <a:pt x="20509" y="11327"/>
                </a:lnTo>
                <a:lnTo>
                  <a:pt x="20701" y="10518"/>
                </a:lnTo>
                <a:lnTo>
                  <a:pt x="20893" y="9708"/>
                </a:lnTo>
                <a:lnTo>
                  <a:pt x="21085" y="8898"/>
                </a:lnTo>
                <a:lnTo>
                  <a:pt x="21276" y="8089"/>
                </a:lnTo>
                <a:lnTo>
                  <a:pt x="21468" y="7279"/>
                </a:lnTo>
                <a:lnTo>
                  <a:pt x="21660" y="6470"/>
                </a:lnTo>
                <a:lnTo>
                  <a:pt x="21465" y="5660"/>
                </a:lnTo>
                <a:lnTo>
                  <a:pt x="21272" y="4852"/>
                </a:lnTo>
                <a:lnTo>
                  <a:pt x="21077" y="4042"/>
                </a:lnTo>
                <a:lnTo>
                  <a:pt x="20884" y="3234"/>
                </a:lnTo>
                <a:lnTo>
                  <a:pt x="20689" y="2424"/>
                </a:lnTo>
                <a:lnTo>
                  <a:pt x="20495" y="1616"/>
                </a:lnTo>
                <a:lnTo>
                  <a:pt x="20302" y="808"/>
                </a:lnTo>
                <a:lnTo>
                  <a:pt x="20108" y="0"/>
                </a:lnTo>
                <a:lnTo>
                  <a:pt x="20132" y="0"/>
                </a:lnTo>
                <a:lnTo>
                  <a:pt x="20324" y="802"/>
                </a:lnTo>
                <a:lnTo>
                  <a:pt x="20516" y="1604"/>
                </a:lnTo>
                <a:lnTo>
                  <a:pt x="20708" y="2406"/>
                </a:lnTo>
                <a:lnTo>
                  <a:pt x="20902" y="3209"/>
                </a:lnTo>
                <a:lnTo>
                  <a:pt x="21094" y="4011"/>
                </a:lnTo>
                <a:lnTo>
                  <a:pt x="21287" y="4813"/>
                </a:lnTo>
                <a:lnTo>
                  <a:pt x="21479" y="5615"/>
                </a:lnTo>
                <a:lnTo>
                  <a:pt x="21672" y="6419"/>
                </a:lnTo>
                <a:lnTo>
                  <a:pt x="21842" y="5703"/>
                </a:lnTo>
                <a:lnTo>
                  <a:pt x="22011" y="4988"/>
                </a:lnTo>
                <a:lnTo>
                  <a:pt x="22181" y="4273"/>
                </a:lnTo>
                <a:lnTo>
                  <a:pt x="22350" y="3557"/>
                </a:lnTo>
                <a:lnTo>
                  <a:pt x="22520" y="2842"/>
                </a:lnTo>
                <a:lnTo>
                  <a:pt x="22689" y="2127"/>
                </a:lnTo>
                <a:lnTo>
                  <a:pt x="22859" y="1411"/>
                </a:lnTo>
                <a:lnTo>
                  <a:pt x="23028" y="697"/>
                </a:lnTo>
                <a:lnTo>
                  <a:pt x="23040" y="699"/>
                </a:lnTo>
                <a:lnTo>
                  <a:pt x="23040" y="751"/>
                </a:lnTo>
                <a:lnTo>
                  <a:pt x="22871" y="1465"/>
                </a:lnTo>
                <a:lnTo>
                  <a:pt x="22701" y="2180"/>
                </a:lnTo>
                <a:lnTo>
                  <a:pt x="22532" y="2896"/>
                </a:lnTo>
                <a:lnTo>
                  <a:pt x="22362" y="3611"/>
                </a:lnTo>
                <a:lnTo>
                  <a:pt x="22193" y="4325"/>
                </a:lnTo>
                <a:lnTo>
                  <a:pt x="22023" y="5040"/>
                </a:lnTo>
                <a:lnTo>
                  <a:pt x="21854" y="5756"/>
                </a:lnTo>
                <a:lnTo>
                  <a:pt x="21684" y="6471"/>
                </a:lnTo>
                <a:close/>
                <a:moveTo>
                  <a:pt x="18294" y="6495"/>
                </a:moveTo>
                <a:lnTo>
                  <a:pt x="18288" y="6471"/>
                </a:lnTo>
                <a:lnTo>
                  <a:pt x="18294" y="6446"/>
                </a:lnTo>
                <a:lnTo>
                  <a:pt x="18282" y="6446"/>
                </a:lnTo>
                <a:lnTo>
                  <a:pt x="18288" y="6470"/>
                </a:lnTo>
                <a:lnTo>
                  <a:pt x="18282" y="6495"/>
                </a:lnTo>
                <a:lnTo>
                  <a:pt x="18294" y="6495"/>
                </a:lnTo>
                <a:close/>
                <a:moveTo>
                  <a:pt x="19808" y="0"/>
                </a:moveTo>
                <a:lnTo>
                  <a:pt x="19834" y="0"/>
                </a:lnTo>
                <a:lnTo>
                  <a:pt x="19642" y="808"/>
                </a:lnTo>
                <a:lnTo>
                  <a:pt x="19450" y="1618"/>
                </a:lnTo>
                <a:lnTo>
                  <a:pt x="19258" y="2426"/>
                </a:lnTo>
                <a:lnTo>
                  <a:pt x="19066" y="3236"/>
                </a:lnTo>
                <a:lnTo>
                  <a:pt x="18874" y="4044"/>
                </a:lnTo>
                <a:lnTo>
                  <a:pt x="18682" y="4853"/>
                </a:lnTo>
                <a:lnTo>
                  <a:pt x="18490" y="5661"/>
                </a:lnTo>
                <a:lnTo>
                  <a:pt x="18300" y="6471"/>
                </a:lnTo>
                <a:lnTo>
                  <a:pt x="18493" y="7281"/>
                </a:lnTo>
                <a:lnTo>
                  <a:pt x="18688" y="8090"/>
                </a:lnTo>
                <a:lnTo>
                  <a:pt x="18882" y="8900"/>
                </a:lnTo>
                <a:lnTo>
                  <a:pt x="19077" y="9710"/>
                </a:lnTo>
                <a:lnTo>
                  <a:pt x="19270" y="10519"/>
                </a:lnTo>
                <a:lnTo>
                  <a:pt x="19465" y="11329"/>
                </a:lnTo>
                <a:lnTo>
                  <a:pt x="19658" y="12138"/>
                </a:lnTo>
                <a:lnTo>
                  <a:pt x="19853" y="12948"/>
                </a:lnTo>
                <a:lnTo>
                  <a:pt x="19829" y="12948"/>
                </a:lnTo>
                <a:lnTo>
                  <a:pt x="19636" y="12144"/>
                </a:lnTo>
                <a:lnTo>
                  <a:pt x="19444" y="11341"/>
                </a:lnTo>
                <a:lnTo>
                  <a:pt x="19250" y="10537"/>
                </a:lnTo>
                <a:lnTo>
                  <a:pt x="19059" y="9735"/>
                </a:lnTo>
                <a:lnTo>
                  <a:pt x="18865" y="8931"/>
                </a:lnTo>
                <a:lnTo>
                  <a:pt x="18673" y="8128"/>
                </a:lnTo>
                <a:lnTo>
                  <a:pt x="18480" y="7324"/>
                </a:lnTo>
                <a:lnTo>
                  <a:pt x="18288" y="6522"/>
                </a:lnTo>
                <a:lnTo>
                  <a:pt x="18097" y="7324"/>
                </a:lnTo>
                <a:lnTo>
                  <a:pt x="17907" y="8128"/>
                </a:lnTo>
                <a:lnTo>
                  <a:pt x="17716" y="8931"/>
                </a:lnTo>
                <a:lnTo>
                  <a:pt x="17526" y="9735"/>
                </a:lnTo>
                <a:lnTo>
                  <a:pt x="17335" y="10537"/>
                </a:lnTo>
                <a:lnTo>
                  <a:pt x="17145" y="11341"/>
                </a:lnTo>
                <a:lnTo>
                  <a:pt x="16955" y="12144"/>
                </a:lnTo>
                <a:lnTo>
                  <a:pt x="16764" y="12948"/>
                </a:lnTo>
                <a:lnTo>
                  <a:pt x="16740" y="12948"/>
                </a:lnTo>
                <a:lnTo>
                  <a:pt x="16932" y="12137"/>
                </a:lnTo>
                <a:lnTo>
                  <a:pt x="17124" y="11327"/>
                </a:lnTo>
                <a:lnTo>
                  <a:pt x="17316" y="10518"/>
                </a:lnTo>
                <a:lnTo>
                  <a:pt x="17508" y="9708"/>
                </a:lnTo>
                <a:lnTo>
                  <a:pt x="17700" y="8898"/>
                </a:lnTo>
                <a:lnTo>
                  <a:pt x="17892" y="8089"/>
                </a:lnTo>
                <a:lnTo>
                  <a:pt x="18084" y="7279"/>
                </a:lnTo>
                <a:lnTo>
                  <a:pt x="18276" y="6470"/>
                </a:lnTo>
                <a:lnTo>
                  <a:pt x="18081" y="5660"/>
                </a:lnTo>
                <a:lnTo>
                  <a:pt x="17887" y="4852"/>
                </a:lnTo>
                <a:lnTo>
                  <a:pt x="17692" y="4042"/>
                </a:lnTo>
                <a:lnTo>
                  <a:pt x="17499" y="3234"/>
                </a:lnTo>
                <a:lnTo>
                  <a:pt x="17304" y="2424"/>
                </a:lnTo>
                <a:lnTo>
                  <a:pt x="17111" y="1616"/>
                </a:lnTo>
                <a:lnTo>
                  <a:pt x="16916" y="808"/>
                </a:lnTo>
                <a:lnTo>
                  <a:pt x="16722" y="0"/>
                </a:lnTo>
                <a:lnTo>
                  <a:pt x="16748" y="0"/>
                </a:lnTo>
                <a:lnTo>
                  <a:pt x="16940" y="802"/>
                </a:lnTo>
                <a:lnTo>
                  <a:pt x="17132" y="1604"/>
                </a:lnTo>
                <a:lnTo>
                  <a:pt x="17323" y="2406"/>
                </a:lnTo>
                <a:lnTo>
                  <a:pt x="17517" y="3209"/>
                </a:lnTo>
                <a:lnTo>
                  <a:pt x="17709" y="4011"/>
                </a:lnTo>
                <a:lnTo>
                  <a:pt x="17902" y="4813"/>
                </a:lnTo>
                <a:lnTo>
                  <a:pt x="18094" y="5615"/>
                </a:lnTo>
                <a:lnTo>
                  <a:pt x="18288" y="6419"/>
                </a:lnTo>
                <a:lnTo>
                  <a:pt x="18477" y="5615"/>
                </a:lnTo>
                <a:lnTo>
                  <a:pt x="18667" y="4813"/>
                </a:lnTo>
                <a:lnTo>
                  <a:pt x="18858" y="4011"/>
                </a:lnTo>
                <a:lnTo>
                  <a:pt x="19048" y="3209"/>
                </a:lnTo>
                <a:lnTo>
                  <a:pt x="19237" y="2406"/>
                </a:lnTo>
                <a:lnTo>
                  <a:pt x="19427" y="1604"/>
                </a:lnTo>
                <a:lnTo>
                  <a:pt x="19618" y="802"/>
                </a:lnTo>
                <a:lnTo>
                  <a:pt x="19808" y="0"/>
                </a:lnTo>
                <a:close/>
                <a:moveTo>
                  <a:pt x="14908" y="6495"/>
                </a:moveTo>
                <a:lnTo>
                  <a:pt x="14902" y="6471"/>
                </a:lnTo>
                <a:lnTo>
                  <a:pt x="14908" y="6446"/>
                </a:lnTo>
                <a:lnTo>
                  <a:pt x="14897" y="6446"/>
                </a:lnTo>
                <a:lnTo>
                  <a:pt x="14902" y="6470"/>
                </a:lnTo>
                <a:lnTo>
                  <a:pt x="14896" y="6495"/>
                </a:lnTo>
                <a:lnTo>
                  <a:pt x="14908" y="6495"/>
                </a:lnTo>
                <a:close/>
                <a:moveTo>
                  <a:pt x="16424" y="0"/>
                </a:moveTo>
                <a:lnTo>
                  <a:pt x="16448" y="0"/>
                </a:lnTo>
                <a:lnTo>
                  <a:pt x="16256" y="808"/>
                </a:lnTo>
                <a:lnTo>
                  <a:pt x="16064" y="1618"/>
                </a:lnTo>
                <a:lnTo>
                  <a:pt x="15872" y="2426"/>
                </a:lnTo>
                <a:lnTo>
                  <a:pt x="15681" y="3236"/>
                </a:lnTo>
                <a:lnTo>
                  <a:pt x="15489" y="4044"/>
                </a:lnTo>
                <a:lnTo>
                  <a:pt x="15298" y="4853"/>
                </a:lnTo>
                <a:lnTo>
                  <a:pt x="15106" y="5661"/>
                </a:lnTo>
                <a:lnTo>
                  <a:pt x="14915" y="6471"/>
                </a:lnTo>
                <a:lnTo>
                  <a:pt x="15109" y="7281"/>
                </a:lnTo>
                <a:lnTo>
                  <a:pt x="15304" y="8090"/>
                </a:lnTo>
                <a:lnTo>
                  <a:pt x="15497" y="8900"/>
                </a:lnTo>
                <a:lnTo>
                  <a:pt x="15692" y="9710"/>
                </a:lnTo>
                <a:lnTo>
                  <a:pt x="15885" y="10519"/>
                </a:lnTo>
                <a:lnTo>
                  <a:pt x="16080" y="11329"/>
                </a:lnTo>
                <a:lnTo>
                  <a:pt x="16274" y="12138"/>
                </a:lnTo>
                <a:lnTo>
                  <a:pt x="16469" y="12948"/>
                </a:lnTo>
                <a:lnTo>
                  <a:pt x="16443" y="12948"/>
                </a:lnTo>
                <a:lnTo>
                  <a:pt x="16250" y="12144"/>
                </a:lnTo>
                <a:lnTo>
                  <a:pt x="16058" y="11341"/>
                </a:lnTo>
                <a:lnTo>
                  <a:pt x="15864" y="10537"/>
                </a:lnTo>
                <a:lnTo>
                  <a:pt x="15672" y="9735"/>
                </a:lnTo>
                <a:lnTo>
                  <a:pt x="15479" y="8931"/>
                </a:lnTo>
                <a:lnTo>
                  <a:pt x="15287" y="8128"/>
                </a:lnTo>
                <a:lnTo>
                  <a:pt x="15094" y="7324"/>
                </a:lnTo>
                <a:lnTo>
                  <a:pt x="14902" y="6522"/>
                </a:lnTo>
                <a:lnTo>
                  <a:pt x="14711" y="7324"/>
                </a:lnTo>
                <a:lnTo>
                  <a:pt x="14521" y="8128"/>
                </a:lnTo>
                <a:lnTo>
                  <a:pt x="14330" y="8931"/>
                </a:lnTo>
                <a:lnTo>
                  <a:pt x="14140" y="9735"/>
                </a:lnTo>
                <a:lnTo>
                  <a:pt x="13949" y="10537"/>
                </a:lnTo>
                <a:lnTo>
                  <a:pt x="13759" y="11341"/>
                </a:lnTo>
                <a:lnTo>
                  <a:pt x="13568" y="12144"/>
                </a:lnTo>
                <a:lnTo>
                  <a:pt x="13380" y="12948"/>
                </a:lnTo>
                <a:lnTo>
                  <a:pt x="13356" y="12948"/>
                </a:lnTo>
                <a:lnTo>
                  <a:pt x="13546" y="12137"/>
                </a:lnTo>
                <a:lnTo>
                  <a:pt x="13738" y="11327"/>
                </a:lnTo>
                <a:lnTo>
                  <a:pt x="13930" y="10518"/>
                </a:lnTo>
                <a:lnTo>
                  <a:pt x="14122" y="9708"/>
                </a:lnTo>
                <a:lnTo>
                  <a:pt x="14314" y="8898"/>
                </a:lnTo>
                <a:lnTo>
                  <a:pt x="14506" y="8089"/>
                </a:lnTo>
                <a:lnTo>
                  <a:pt x="14698" y="7279"/>
                </a:lnTo>
                <a:lnTo>
                  <a:pt x="14890" y="6470"/>
                </a:lnTo>
                <a:lnTo>
                  <a:pt x="14695" y="5660"/>
                </a:lnTo>
                <a:lnTo>
                  <a:pt x="14501" y="4852"/>
                </a:lnTo>
                <a:lnTo>
                  <a:pt x="14306" y="4042"/>
                </a:lnTo>
                <a:lnTo>
                  <a:pt x="14113" y="3234"/>
                </a:lnTo>
                <a:lnTo>
                  <a:pt x="13918" y="2424"/>
                </a:lnTo>
                <a:lnTo>
                  <a:pt x="13724" y="1616"/>
                </a:lnTo>
                <a:lnTo>
                  <a:pt x="13531" y="808"/>
                </a:lnTo>
                <a:lnTo>
                  <a:pt x="13338" y="0"/>
                </a:lnTo>
                <a:lnTo>
                  <a:pt x="13362" y="0"/>
                </a:lnTo>
                <a:lnTo>
                  <a:pt x="13553" y="802"/>
                </a:lnTo>
                <a:lnTo>
                  <a:pt x="13745" y="1604"/>
                </a:lnTo>
                <a:lnTo>
                  <a:pt x="13937" y="2406"/>
                </a:lnTo>
                <a:lnTo>
                  <a:pt x="14131" y="3209"/>
                </a:lnTo>
                <a:lnTo>
                  <a:pt x="14323" y="4011"/>
                </a:lnTo>
                <a:lnTo>
                  <a:pt x="14516" y="4813"/>
                </a:lnTo>
                <a:lnTo>
                  <a:pt x="14708" y="5615"/>
                </a:lnTo>
                <a:lnTo>
                  <a:pt x="14902" y="6419"/>
                </a:lnTo>
                <a:lnTo>
                  <a:pt x="15091" y="5615"/>
                </a:lnTo>
                <a:lnTo>
                  <a:pt x="15281" y="4813"/>
                </a:lnTo>
                <a:lnTo>
                  <a:pt x="15471" y="4011"/>
                </a:lnTo>
                <a:lnTo>
                  <a:pt x="15662" y="3209"/>
                </a:lnTo>
                <a:lnTo>
                  <a:pt x="15852" y="2406"/>
                </a:lnTo>
                <a:lnTo>
                  <a:pt x="16043" y="1604"/>
                </a:lnTo>
                <a:lnTo>
                  <a:pt x="16233" y="802"/>
                </a:lnTo>
                <a:lnTo>
                  <a:pt x="16424" y="0"/>
                </a:lnTo>
                <a:close/>
                <a:moveTo>
                  <a:pt x="11523" y="6495"/>
                </a:moveTo>
                <a:lnTo>
                  <a:pt x="11517" y="6471"/>
                </a:lnTo>
                <a:lnTo>
                  <a:pt x="11523" y="6446"/>
                </a:lnTo>
                <a:lnTo>
                  <a:pt x="11511" y="6446"/>
                </a:lnTo>
                <a:lnTo>
                  <a:pt x="11517" y="6470"/>
                </a:lnTo>
                <a:lnTo>
                  <a:pt x="11511" y="6495"/>
                </a:lnTo>
                <a:lnTo>
                  <a:pt x="11523" y="6495"/>
                </a:lnTo>
                <a:close/>
                <a:moveTo>
                  <a:pt x="13038" y="0"/>
                </a:moveTo>
                <a:lnTo>
                  <a:pt x="13063" y="0"/>
                </a:lnTo>
                <a:lnTo>
                  <a:pt x="12871" y="808"/>
                </a:lnTo>
                <a:lnTo>
                  <a:pt x="12679" y="1618"/>
                </a:lnTo>
                <a:lnTo>
                  <a:pt x="12487" y="2426"/>
                </a:lnTo>
                <a:lnTo>
                  <a:pt x="12295" y="3236"/>
                </a:lnTo>
                <a:lnTo>
                  <a:pt x="12103" y="4044"/>
                </a:lnTo>
                <a:lnTo>
                  <a:pt x="11911" y="4853"/>
                </a:lnTo>
                <a:lnTo>
                  <a:pt x="11719" y="5661"/>
                </a:lnTo>
                <a:lnTo>
                  <a:pt x="11529" y="6471"/>
                </a:lnTo>
                <a:lnTo>
                  <a:pt x="11722" y="7281"/>
                </a:lnTo>
                <a:lnTo>
                  <a:pt x="11917" y="8090"/>
                </a:lnTo>
                <a:lnTo>
                  <a:pt x="12111" y="8900"/>
                </a:lnTo>
                <a:lnTo>
                  <a:pt x="12306" y="9710"/>
                </a:lnTo>
                <a:lnTo>
                  <a:pt x="12499" y="10519"/>
                </a:lnTo>
                <a:lnTo>
                  <a:pt x="12694" y="11329"/>
                </a:lnTo>
                <a:lnTo>
                  <a:pt x="12888" y="12138"/>
                </a:lnTo>
                <a:lnTo>
                  <a:pt x="13083" y="12948"/>
                </a:lnTo>
                <a:lnTo>
                  <a:pt x="13059" y="12948"/>
                </a:lnTo>
                <a:lnTo>
                  <a:pt x="12865" y="12144"/>
                </a:lnTo>
                <a:lnTo>
                  <a:pt x="12673" y="11341"/>
                </a:lnTo>
                <a:lnTo>
                  <a:pt x="12480" y="10537"/>
                </a:lnTo>
                <a:lnTo>
                  <a:pt x="12288" y="9735"/>
                </a:lnTo>
                <a:lnTo>
                  <a:pt x="12094" y="8931"/>
                </a:lnTo>
                <a:lnTo>
                  <a:pt x="11902" y="8128"/>
                </a:lnTo>
                <a:lnTo>
                  <a:pt x="11709" y="7324"/>
                </a:lnTo>
                <a:lnTo>
                  <a:pt x="11517" y="6522"/>
                </a:lnTo>
                <a:lnTo>
                  <a:pt x="11327" y="7324"/>
                </a:lnTo>
                <a:lnTo>
                  <a:pt x="11136" y="8128"/>
                </a:lnTo>
                <a:lnTo>
                  <a:pt x="10946" y="8931"/>
                </a:lnTo>
                <a:lnTo>
                  <a:pt x="10755" y="9735"/>
                </a:lnTo>
                <a:lnTo>
                  <a:pt x="10565" y="10537"/>
                </a:lnTo>
                <a:lnTo>
                  <a:pt x="10374" y="11341"/>
                </a:lnTo>
                <a:lnTo>
                  <a:pt x="10184" y="12144"/>
                </a:lnTo>
                <a:lnTo>
                  <a:pt x="9995" y="12948"/>
                </a:lnTo>
                <a:lnTo>
                  <a:pt x="9969" y="12948"/>
                </a:lnTo>
                <a:lnTo>
                  <a:pt x="10161" y="12137"/>
                </a:lnTo>
                <a:lnTo>
                  <a:pt x="10353" y="11327"/>
                </a:lnTo>
                <a:lnTo>
                  <a:pt x="10545" y="10518"/>
                </a:lnTo>
                <a:lnTo>
                  <a:pt x="10737" y="9708"/>
                </a:lnTo>
                <a:lnTo>
                  <a:pt x="10929" y="8898"/>
                </a:lnTo>
                <a:lnTo>
                  <a:pt x="11121" y="8089"/>
                </a:lnTo>
                <a:lnTo>
                  <a:pt x="11313" y="7279"/>
                </a:lnTo>
                <a:lnTo>
                  <a:pt x="11505" y="6470"/>
                </a:lnTo>
                <a:lnTo>
                  <a:pt x="11310" y="5660"/>
                </a:lnTo>
                <a:lnTo>
                  <a:pt x="11117" y="4852"/>
                </a:lnTo>
                <a:lnTo>
                  <a:pt x="10922" y="4042"/>
                </a:lnTo>
                <a:lnTo>
                  <a:pt x="10728" y="3234"/>
                </a:lnTo>
                <a:lnTo>
                  <a:pt x="10533" y="2424"/>
                </a:lnTo>
                <a:lnTo>
                  <a:pt x="10340" y="1616"/>
                </a:lnTo>
                <a:lnTo>
                  <a:pt x="10146" y="808"/>
                </a:lnTo>
                <a:lnTo>
                  <a:pt x="9953" y="0"/>
                </a:lnTo>
                <a:lnTo>
                  <a:pt x="9977" y="0"/>
                </a:lnTo>
                <a:lnTo>
                  <a:pt x="10169" y="802"/>
                </a:lnTo>
                <a:lnTo>
                  <a:pt x="10361" y="1604"/>
                </a:lnTo>
                <a:lnTo>
                  <a:pt x="10553" y="2406"/>
                </a:lnTo>
                <a:lnTo>
                  <a:pt x="10746" y="3209"/>
                </a:lnTo>
                <a:lnTo>
                  <a:pt x="10938" y="4011"/>
                </a:lnTo>
                <a:lnTo>
                  <a:pt x="11132" y="4813"/>
                </a:lnTo>
                <a:lnTo>
                  <a:pt x="11324" y="5615"/>
                </a:lnTo>
                <a:lnTo>
                  <a:pt x="11517" y="6419"/>
                </a:lnTo>
                <a:lnTo>
                  <a:pt x="11706" y="5615"/>
                </a:lnTo>
                <a:lnTo>
                  <a:pt x="11896" y="4813"/>
                </a:lnTo>
                <a:lnTo>
                  <a:pt x="12087" y="4011"/>
                </a:lnTo>
                <a:lnTo>
                  <a:pt x="12277" y="3209"/>
                </a:lnTo>
                <a:lnTo>
                  <a:pt x="12466" y="2406"/>
                </a:lnTo>
                <a:lnTo>
                  <a:pt x="12657" y="1604"/>
                </a:lnTo>
                <a:lnTo>
                  <a:pt x="12847" y="802"/>
                </a:lnTo>
                <a:lnTo>
                  <a:pt x="13038" y="0"/>
                </a:lnTo>
                <a:close/>
                <a:moveTo>
                  <a:pt x="8137" y="6495"/>
                </a:moveTo>
                <a:lnTo>
                  <a:pt x="8132" y="6471"/>
                </a:lnTo>
                <a:lnTo>
                  <a:pt x="8138" y="6446"/>
                </a:lnTo>
                <a:lnTo>
                  <a:pt x="8126" y="6446"/>
                </a:lnTo>
                <a:lnTo>
                  <a:pt x="8132" y="6470"/>
                </a:lnTo>
                <a:lnTo>
                  <a:pt x="8126" y="6495"/>
                </a:lnTo>
                <a:lnTo>
                  <a:pt x="8137" y="6495"/>
                </a:lnTo>
                <a:close/>
                <a:moveTo>
                  <a:pt x="9653" y="0"/>
                </a:moveTo>
                <a:lnTo>
                  <a:pt x="9677" y="0"/>
                </a:lnTo>
                <a:lnTo>
                  <a:pt x="9485" y="808"/>
                </a:lnTo>
                <a:lnTo>
                  <a:pt x="9293" y="1618"/>
                </a:lnTo>
                <a:lnTo>
                  <a:pt x="9101" y="2426"/>
                </a:lnTo>
                <a:lnTo>
                  <a:pt x="8911" y="3236"/>
                </a:lnTo>
                <a:lnTo>
                  <a:pt x="8719" y="4044"/>
                </a:lnTo>
                <a:lnTo>
                  <a:pt x="8527" y="4853"/>
                </a:lnTo>
                <a:lnTo>
                  <a:pt x="8335" y="5661"/>
                </a:lnTo>
                <a:lnTo>
                  <a:pt x="8144" y="6471"/>
                </a:lnTo>
                <a:lnTo>
                  <a:pt x="8338" y="7281"/>
                </a:lnTo>
                <a:lnTo>
                  <a:pt x="8533" y="8090"/>
                </a:lnTo>
                <a:lnTo>
                  <a:pt x="8726" y="8900"/>
                </a:lnTo>
                <a:lnTo>
                  <a:pt x="8921" y="9710"/>
                </a:lnTo>
                <a:lnTo>
                  <a:pt x="9115" y="10519"/>
                </a:lnTo>
                <a:lnTo>
                  <a:pt x="9310" y="11329"/>
                </a:lnTo>
                <a:lnTo>
                  <a:pt x="9503" y="12138"/>
                </a:lnTo>
                <a:lnTo>
                  <a:pt x="9698" y="12948"/>
                </a:lnTo>
                <a:lnTo>
                  <a:pt x="9674" y="12948"/>
                </a:lnTo>
                <a:lnTo>
                  <a:pt x="9481" y="12144"/>
                </a:lnTo>
                <a:lnTo>
                  <a:pt x="9289" y="11341"/>
                </a:lnTo>
                <a:lnTo>
                  <a:pt x="9095" y="10537"/>
                </a:lnTo>
                <a:lnTo>
                  <a:pt x="8903" y="9735"/>
                </a:lnTo>
                <a:lnTo>
                  <a:pt x="8710" y="8931"/>
                </a:lnTo>
                <a:lnTo>
                  <a:pt x="8518" y="8128"/>
                </a:lnTo>
                <a:lnTo>
                  <a:pt x="8324" y="7324"/>
                </a:lnTo>
                <a:lnTo>
                  <a:pt x="8132" y="6522"/>
                </a:lnTo>
                <a:lnTo>
                  <a:pt x="7942" y="7324"/>
                </a:lnTo>
                <a:lnTo>
                  <a:pt x="7751" y="8128"/>
                </a:lnTo>
                <a:lnTo>
                  <a:pt x="7561" y="8931"/>
                </a:lnTo>
                <a:lnTo>
                  <a:pt x="7371" y="9735"/>
                </a:lnTo>
                <a:lnTo>
                  <a:pt x="7180" y="10537"/>
                </a:lnTo>
                <a:lnTo>
                  <a:pt x="6990" y="11341"/>
                </a:lnTo>
                <a:lnTo>
                  <a:pt x="6799" y="12144"/>
                </a:lnTo>
                <a:lnTo>
                  <a:pt x="6609" y="12948"/>
                </a:lnTo>
                <a:lnTo>
                  <a:pt x="6585" y="12948"/>
                </a:lnTo>
                <a:lnTo>
                  <a:pt x="6775" y="12137"/>
                </a:lnTo>
                <a:lnTo>
                  <a:pt x="6967" y="11327"/>
                </a:lnTo>
                <a:lnTo>
                  <a:pt x="7159" y="10518"/>
                </a:lnTo>
                <a:lnTo>
                  <a:pt x="7351" y="9708"/>
                </a:lnTo>
                <a:lnTo>
                  <a:pt x="7543" y="8898"/>
                </a:lnTo>
                <a:lnTo>
                  <a:pt x="7735" y="8089"/>
                </a:lnTo>
                <a:lnTo>
                  <a:pt x="7927" y="7279"/>
                </a:lnTo>
                <a:lnTo>
                  <a:pt x="8119" y="6470"/>
                </a:lnTo>
                <a:lnTo>
                  <a:pt x="7924" y="5660"/>
                </a:lnTo>
                <a:lnTo>
                  <a:pt x="7730" y="4852"/>
                </a:lnTo>
                <a:lnTo>
                  <a:pt x="7536" y="4042"/>
                </a:lnTo>
                <a:lnTo>
                  <a:pt x="7342" y="3234"/>
                </a:lnTo>
                <a:lnTo>
                  <a:pt x="7147" y="2424"/>
                </a:lnTo>
                <a:lnTo>
                  <a:pt x="6954" y="1616"/>
                </a:lnTo>
                <a:lnTo>
                  <a:pt x="6760" y="808"/>
                </a:lnTo>
                <a:lnTo>
                  <a:pt x="6567" y="0"/>
                </a:lnTo>
                <a:lnTo>
                  <a:pt x="6592" y="0"/>
                </a:lnTo>
                <a:lnTo>
                  <a:pt x="6784" y="802"/>
                </a:lnTo>
                <a:lnTo>
                  <a:pt x="6976" y="1604"/>
                </a:lnTo>
                <a:lnTo>
                  <a:pt x="7168" y="2406"/>
                </a:lnTo>
                <a:lnTo>
                  <a:pt x="7362" y="3209"/>
                </a:lnTo>
                <a:lnTo>
                  <a:pt x="7554" y="4011"/>
                </a:lnTo>
                <a:lnTo>
                  <a:pt x="7747" y="4813"/>
                </a:lnTo>
                <a:lnTo>
                  <a:pt x="7939" y="5615"/>
                </a:lnTo>
                <a:lnTo>
                  <a:pt x="8132" y="6419"/>
                </a:lnTo>
                <a:lnTo>
                  <a:pt x="8321" y="5615"/>
                </a:lnTo>
                <a:lnTo>
                  <a:pt x="8512" y="4813"/>
                </a:lnTo>
                <a:lnTo>
                  <a:pt x="8702" y="4011"/>
                </a:lnTo>
                <a:lnTo>
                  <a:pt x="8893" y="3209"/>
                </a:lnTo>
                <a:lnTo>
                  <a:pt x="9082" y="2406"/>
                </a:lnTo>
                <a:lnTo>
                  <a:pt x="9272" y="1604"/>
                </a:lnTo>
                <a:lnTo>
                  <a:pt x="9463" y="802"/>
                </a:lnTo>
                <a:lnTo>
                  <a:pt x="9653" y="0"/>
                </a:lnTo>
                <a:close/>
                <a:moveTo>
                  <a:pt x="4752" y="6495"/>
                </a:moveTo>
                <a:lnTo>
                  <a:pt x="4746" y="6471"/>
                </a:lnTo>
                <a:lnTo>
                  <a:pt x="4752" y="6446"/>
                </a:lnTo>
                <a:lnTo>
                  <a:pt x="4740" y="6446"/>
                </a:lnTo>
                <a:lnTo>
                  <a:pt x="4746" y="6470"/>
                </a:lnTo>
                <a:lnTo>
                  <a:pt x="4740" y="6495"/>
                </a:lnTo>
                <a:lnTo>
                  <a:pt x="4752" y="6495"/>
                </a:lnTo>
                <a:close/>
                <a:moveTo>
                  <a:pt x="6267" y="0"/>
                </a:moveTo>
                <a:lnTo>
                  <a:pt x="6292" y="0"/>
                </a:lnTo>
                <a:lnTo>
                  <a:pt x="6100" y="808"/>
                </a:lnTo>
                <a:lnTo>
                  <a:pt x="5908" y="1618"/>
                </a:lnTo>
                <a:lnTo>
                  <a:pt x="5717" y="2426"/>
                </a:lnTo>
                <a:lnTo>
                  <a:pt x="5525" y="3236"/>
                </a:lnTo>
                <a:lnTo>
                  <a:pt x="5333" y="4044"/>
                </a:lnTo>
                <a:lnTo>
                  <a:pt x="5141" y="4853"/>
                </a:lnTo>
                <a:lnTo>
                  <a:pt x="4949" y="5661"/>
                </a:lnTo>
                <a:lnTo>
                  <a:pt x="4758" y="6471"/>
                </a:lnTo>
                <a:lnTo>
                  <a:pt x="4952" y="7281"/>
                </a:lnTo>
                <a:lnTo>
                  <a:pt x="5147" y="8090"/>
                </a:lnTo>
                <a:lnTo>
                  <a:pt x="5340" y="8900"/>
                </a:lnTo>
                <a:lnTo>
                  <a:pt x="5535" y="9710"/>
                </a:lnTo>
                <a:lnTo>
                  <a:pt x="5729" y="10519"/>
                </a:lnTo>
                <a:lnTo>
                  <a:pt x="5923" y="11329"/>
                </a:lnTo>
                <a:lnTo>
                  <a:pt x="6118" y="12138"/>
                </a:lnTo>
                <a:lnTo>
                  <a:pt x="6313" y="12948"/>
                </a:lnTo>
                <a:lnTo>
                  <a:pt x="6288" y="12948"/>
                </a:lnTo>
                <a:lnTo>
                  <a:pt x="6094" y="12144"/>
                </a:lnTo>
                <a:lnTo>
                  <a:pt x="5902" y="11341"/>
                </a:lnTo>
                <a:lnTo>
                  <a:pt x="5709" y="10537"/>
                </a:lnTo>
                <a:lnTo>
                  <a:pt x="5517" y="9735"/>
                </a:lnTo>
                <a:lnTo>
                  <a:pt x="5324" y="8931"/>
                </a:lnTo>
                <a:lnTo>
                  <a:pt x="5132" y="8128"/>
                </a:lnTo>
                <a:lnTo>
                  <a:pt x="4938" y="7324"/>
                </a:lnTo>
                <a:lnTo>
                  <a:pt x="4746" y="6522"/>
                </a:lnTo>
                <a:lnTo>
                  <a:pt x="4556" y="7324"/>
                </a:lnTo>
                <a:lnTo>
                  <a:pt x="4365" y="8128"/>
                </a:lnTo>
                <a:lnTo>
                  <a:pt x="4175" y="8931"/>
                </a:lnTo>
                <a:lnTo>
                  <a:pt x="3984" y="9735"/>
                </a:lnTo>
                <a:lnTo>
                  <a:pt x="3794" y="10537"/>
                </a:lnTo>
                <a:lnTo>
                  <a:pt x="3604" y="11341"/>
                </a:lnTo>
                <a:lnTo>
                  <a:pt x="3413" y="12144"/>
                </a:lnTo>
                <a:lnTo>
                  <a:pt x="3224" y="12948"/>
                </a:lnTo>
                <a:lnTo>
                  <a:pt x="3199" y="12948"/>
                </a:lnTo>
                <a:lnTo>
                  <a:pt x="3391" y="12137"/>
                </a:lnTo>
                <a:lnTo>
                  <a:pt x="3583" y="11327"/>
                </a:lnTo>
                <a:lnTo>
                  <a:pt x="3775" y="10518"/>
                </a:lnTo>
                <a:lnTo>
                  <a:pt x="3966" y="9708"/>
                </a:lnTo>
                <a:lnTo>
                  <a:pt x="4158" y="8898"/>
                </a:lnTo>
                <a:lnTo>
                  <a:pt x="4350" y="8089"/>
                </a:lnTo>
                <a:lnTo>
                  <a:pt x="4542" y="7279"/>
                </a:lnTo>
                <a:lnTo>
                  <a:pt x="4734" y="6470"/>
                </a:lnTo>
                <a:lnTo>
                  <a:pt x="4539" y="5660"/>
                </a:lnTo>
                <a:lnTo>
                  <a:pt x="4346" y="4852"/>
                </a:lnTo>
                <a:lnTo>
                  <a:pt x="4151" y="4042"/>
                </a:lnTo>
                <a:lnTo>
                  <a:pt x="3957" y="3234"/>
                </a:lnTo>
                <a:lnTo>
                  <a:pt x="3763" y="2424"/>
                </a:lnTo>
                <a:lnTo>
                  <a:pt x="3569" y="1616"/>
                </a:lnTo>
                <a:lnTo>
                  <a:pt x="3376" y="808"/>
                </a:lnTo>
                <a:lnTo>
                  <a:pt x="3182" y="0"/>
                </a:lnTo>
                <a:lnTo>
                  <a:pt x="3206" y="0"/>
                </a:lnTo>
                <a:lnTo>
                  <a:pt x="3398" y="802"/>
                </a:lnTo>
                <a:lnTo>
                  <a:pt x="3590" y="1604"/>
                </a:lnTo>
                <a:lnTo>
                  <a:pt x="3782" y="2406"/>
                </a:lnTo>
                <a:lnTo>
                  <a:pt x="3975" y="3209"/>
                </a:lnTo>
                <a:lnTo>
                  <a:pt x="4167" y="4011"/>
                </a:lnTo>
                <a:lnTo>
                  <a:pt x="4361" y="4813"/>
                </a:lnTo>
                <a:lnTo>
                  <a:pt x="4553" y="5615"/>
                </a:lnTo>
                <a:lnTo>
                  <a:pt x="4746" y="6419"/>
                </a:lnTo>
                <a:lnTo>
                  <a:pt x="4935" y="5615"/>
                </a:lnTo>
                <a:lnTo>
                  <a:pt x="5126" y="4813"/>
                </a:lnTo>
                <a:lnTo>
                  <a:pt x="5316" y="4011"/>
                </a:lnTo>
                <a:lnTo>
                  <a:pt x="5507" y="3209"/>
                </a:lnTo>
                <a:lnTo>
                  <a:pt x="5696" y="2406"/>
                </a:lnTo>
                <a:lnTo>
                  <a:pt x="5886" y="1604"/>
                </a:lnTo>
                <a:lnTo>
                  <a:pt x="6076" y="802"/>
                </a:lnTo>
                <a:lnTo>
                  <a:pt x="6267" y="0"/>
                </a:lnTo>
                <a:close/>
              </a:path>
            </a:pathLst>
          </a:custGeom>
          <a:solidFill>
            <a:srgbClr val="B1059D">
              <a:alpha val="40000"/>
            </a:srgb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70D096-D0B2-004B-A12B-B95605A103F7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F3906773-C5A8-F5A4-B866-B999A6E865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1A50A16-7DB7-A0DD-8955-F3467AAB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3023317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841248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3r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AB0678E6-B763-4ACC-A36F-CB1E835C30E6}"/>
              </a:ext>
            </a:extLst>
          </p:cNvPr>
          <p:cNvSpPr>
            <a:spLocks noEditPoints="1"/>
          </p:cNvSpPr>
          <p:nvPr/>
        </p:nvSpPr>
        <p:spPr bwMode="auto">
          <a:xfrm>
            <a:off x="0" y="7938"/>
            <a:ext cx="12192000" cy="6842125"/>
          </a:xfrm>
          <a:custGeom>
            <a:avLst/>
            <a:gdLst>
              <a:gd name="T0" fmla="*/ 15364 w 15364"/>
              <a:gd name="T1" fmla="*/ 1125 h 12930"/>
              <a:gd name="T2" fmla="*/ 13391 w 15364"/>
              <a:gd name="T3" fmla="*/ 1550 h 12930"/>
              <a:gd name="T4" fmla="*/ 13391 w 15364"/>
              <a:gd name="T5" fmla="*/ 5426 h 12930"/>
              <a:gd name="T6" fmla="*/ 12282 w 15364"/>
              <a:gd name="T7" fmla="*/ 3101 h 12930"/>
              <a:gd name="T8" fmla="*/ 10388 w 15364"/>
              <a:gd name="T9" fmla="*/ 0 h 12930"/>
              <a:gd name="T10" fmla="*/ 9603 w 15364"/>
              <a:gd name="T11" fmla="*/ 3101 h 12930"/>
              <a:gd name="T12" fmla="*/ 9324 w 15364"/>
              <a:gd name="T13" fmla="*/ 5426 h 12930"/>
              <a:gd name="T14" fmla="*/ 7937 w 15364"/>
              <a:gd name="T15" fmla="*/ 1550 h 12930"/>
              <a:gd name="T16" fmla="*/ 5814 w 15364"/>
              <a:gd name="T17" fmla="*/ 775 h 12930"/>
              <a:gd name="T18" fmla="*/ 5814 w 15364"/>
              <a:gd name="T19" fmla="*/ 4651 h 12930"/>
              <a:gd name="T20" fmla="*/ 4980 w 15364"/>
              <a:gd name="T21" fmla="*/ 3876 h 12930"/>
              <a:gd name="T22" fmla="*/ 3594 w 15364"/>
              <a:gd name="T23" fmla="*/ 0 h 12930"/>
              <a:gd name="T24" fmla="*/ 2025 w 15364"/>
              <a:gd name="T25" fmla="*/ 2326 h 12930"/>
              <a:gd name="T26" fmla="*/ 2025 w 15364"/>
              <a:gd name="T27" fmla="*/ 6202 h 12930"/>
              <a:gd name="T28" fmla="*/ 759 w 15364"/>
              <a:gd name="T29" fmla="*/ 2665 h 12930"/>
              <a:gd name="T30" fmla="*/ 0 w 15364"/>
              <a:gd name="T31" fmla="*/ 1781 h 12930"/>
              <a:gd name="T32" fmla="*/ 925 w 15364"/>
              <a:gd name="T33" fmla="*/ 5603 h 12930"/>
              <a:gd name="T34" fmla="*/ 1234 w 15364"/>
              <a:gd name="T35" fmla="*/ 9566 h 12930"/>
              <a:gd name="T36" fmla="*/ 925 w 15364"/>
              <a:gd name="T37" fmla="*/ 11805 h 12930"/>
              <a:gd name="T38" fmla="*/ 0 w 15364"/>
              <a:gd name="T39" fmla="*/ 10453 h 12930"/>
              <a:gd name="T40" fmla="*/ 1228 w 15364"/>
              <a:gd name="T41" fmla="*/ 12930 h 12930"/>
              <a:gd name="T42" fmla="*/ 2014 w 15364"/>
              <a:gd name="T43" fmla="*/ 9829 h 12930"/>
              <a:gd name="T44" fmla="*/ 2291 w 15364"/>
              <a:gd name="T45" fmla="*/ 7504 h 12930"/>
              <a:gd name="T46" fmla="*/ 3678 w 15364"/>
              <a:gd name="T47" fmla="*/ 11380 h 12930"/>
              <a:gd name="T48" fmla="*/ 5803 w 15364"/>
              <a:gd name="T49" fmla="*/ 12155 h 12930"/>
              <a:gd name="T50" fmla="*/ 5803 w 15364"/>
              <a:gd name="T51" fmla="*/ 8279 h 12930"/>
              <a:gd name="T52" fmla="*/ 6634 w 15364"/>
              <a:gd name="T53" fmla="*/ 9054 h 12930"/>
              <a:gd name="T54" fmla="*/ 8022 w 15364"/>
              <a:gd name="T55" fmla="*/ 12930 h 12930"/>
              <a:gd name="T56" fmla="*/ 9592 w 15364"/>
              <a:gd name="T57" fmla="*/ 10604 h 12930"/>
              <a:gd name="T58" fmla="*/ 9592 w 15364"/>
              <a:gd name="T59" fmla="*/ 6728 h 12930"/>
              <a:gd name="T60" fmla="*/ 10979 w 15364"/>
              <a:gd name="T61" fmla="*/ 10604 h 12930"/>
              <a:gd name="T62" fmla="*/ 13381 w 15364"/>
              <a:gd name="T63" fmla="*/ 12930 h 12930"/>
              <a:gd name="T64" fmla="*/ 13381 w 15364"/>
              <a:gd name="T65" fmla="*/ 9054 h 12930"/>
              <a:gd name="T66" fmla="*/ 13877 w 15364"/>
              <a:gd name="T67" fmla="*/ 8113 h 12930"/>
              <a:gd name="T68" fmla="*/ 15116 w 15364"/>
              <a:gd name="T69" fmla="*/ 11577 h 12930"/>
              <a:gd name="T70" fmla="*/ 15364 w 15364"/>
              <a:gd name="T71" fmla="*/ 9798 h 12930"/>
              <a:gd name="T72" fmla="*/ 14172 w 15364"/>
              <a:gd name="T73" fmla="*/ 5690 h 12930"/>
              <a:gd name="T74" fmla="*/ 14172 w 15364"/>
              <a:gd name="T75" fmla="*/ 1814 h 12930"/>
              <a:gd name="T76" fmla="*/ 15066 w 15364"/>
              <a:gd name="T77" fmla="*/ 2763 h 12930"/>
              <a:gd name="T78" fmla="*/ 4190 w 15364"/>
              <a:gd name="T79" fmla="*/ 10341 h 12930"/>
              <a:gd name="T80" fmla="*/ 2804 w 15364"/>
              <a:gd name="T81" fmla="*/ 6465 h 12930"/>
              <a:gd name="T82" fmla="*/ 2804 w 15364"/>
              <a:gd name="T83" fmla="*/ 2589 h 12930"/>
              <a:gd name="T84" fmla="*/ 3358 w 15364"/>
              <a:gd name="T85" fmla="*/ 1814 h 12930"/>
              <a:gd name="T86" fmla="*/ 4745 w 15364"/>
              <a:gd name="T87" fmla="*/ 5690 h 12930"/>
              <a:gd name="T88" fmla="*/ 5023 w 15364"/>
              <a:gd name="T89" fmla="*/ 9566 h 12930"/>
              <a:gd name="T90" fmla="*/ 8812 w 15364"/>
              <a:gd name="T91" fmla="*/ 6465 h 12930"/>
              <a:gd name="T92" fmla="*/ 8812 w 15364"/>
              <a:gd name="T93" fmla="*/ 10341 h 12930"/>
              <a:gd name="T94" fmla="*/ 8257 w 15364"/>
              <a:gd name="T95" fmla="*/ 11116 h 12930"/>
              <a:gd name="T96" fmla="*/ 6870 w 15364"/>
              <a:gd name="T97" fmla="*/ 7240 h 12930"/>
              <a:gd name="T98" fmla="*/ 6593 w 15364"/>
              <a:gd name="T99" fmla="*/ 3364 h 12930"/>
              <a:gd name="T100" fmla="*/ 6870 w 15364"/>
              <a:gd name="T101" fmla="*/ 1039 h 12930"/>
              <a:gd name="T102" fmla="*/ 8257 w 15364"/>
              <a:gd name="T103" fmla="*/ 4915 h 12930"/>
              <a:gd name="T104" fmla="*/ 12046 w 15364"/>
              <a:gd name="T105" fmla="*/ 11116 h 12930"/>
              <a:gd name="T106" fmla="*/ 10660 w 15364"/>
              <a:gd name="T107" fmla="*/ 7240 h 12930"/>
              <a:gd name="T108" fmla="*/ 10383 w 15364"/>
              <a:gd name="T109" fmla="*/ 3364 h 12930"/>
              <a:gd name="T110" fmla="*/ 10660 w 15364"/>
              <a:gd name="T111" fmla="*/ 1039 h 12930"/>
              <a:gd name="T112" fmla="*/ 12046 w 15364"/>
              <a:gd name="T113" fmla="*/ 4915 h 12930"/>
              <a:gd name="T114" fmla="*/ 12601 w 15364"/>
              <a:gd name="T115" fmla="*/ 8791 h 12930"/>
              <a:gd name="T116" fmla="*/ 12601 w 15364"/>
              <a:gd name="T117" fmla="*/ 12667 h 12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364" h="12930">
                <a:moveTo>
                  <a:pt x="15364" y="3596"/>
                </a:moveTo>
                <a:lnTo>
                  <a:pt x="15364" y="2978"/>
                </a:lnTo>
                <a:lnTo>
                  <a:pt x="15364" y="2360"/>
                </a:lnTo>
                <a:lnTo>
                  <a:pt x="15364" y="1742"/>
                </a:lnTo>
                <a:lnTo>
                  <a:pt x="15364" y="1125"/>
                </a:lnTo>
                <a:lnTo>
                  <a:pt x="14962" y="0"/>
                </a:lnTo>
                <a:lnTo>
                  <a:pt x="14177" y="0"/>
                </a:lnTo>
                <a:lnTo>
                  <a:pt x="13391" y="0"/>
                </a:lnTo>
                <a:lnTo>
                  <a:pt x="13391" y="775"/>
                </a:lnTo>
                <a:lnTo>
                  <a:pt x="13391" y="1550"/>
                </a:lnTo>
                <a:lnTo>
                  <a:pt x="13391" y="2326"/>
                </a:lnTo>
                <a:lnTo>
                  <a:pt x="13391" y="3101"/>
                </a:lnTo>
                <a:lnTo>
                  <a:pt x="13391" y="3876"/>
                </a:lnTo>
                <a:lnTo>
                  <a:pt x="13391" y="4651"/>
                </a:lnTo>
                <a:lnTo>
                  <a:pt x="13391" y="5426"/>
                </a:lnTo>
                <a:lnTo>
                  <a:pt x="13391" y="6202"/>
                </a:lnTo>
                <a:lnTo>
                  <a:pt x="13113" y="5426"/>
                </a:lnTo>
                <a:lnTo>
                  <a:pt x="12836" y="4651"/>
                </a:lnTo>
                <a:lnTo>
                  <a:pt x="12559" y="3876"/>
                </a:lnTo>
                <a:lnTo>
                  <a:pt x="12282" y="3101"/>
                </a:lnTo>
                <a:lnTo>
                  <a:pt x="12004" y="2326"/>
                </a:lnTo>
                <a:lnTo>
                  <a:pt x="11727" y="1550"/>
                </a:lnTo>
                <a:lnTo>
                  <a:pt x="11450" y="775"/>
                </a:lnTo>
                <a:lnTo>
                  <a:pt x="11173" y="0"/>
                </a:lnTo>
                <a:lnTo>
                  <a:pt x="10388" y="0"/>
                </a:lnTo>
                <a:lnTo>
                  <a:pt x="9603" y="0"/>
                </a:lnTo>
                <a:lnTo>
                  <a:pt x="9603" y="775"/>
                </a:lnTo>
                <a:lnTo>
                  <a:pt x="9603" y="1550"/>
                </a:lnTo>
                <a:lnTo>
                  <a:pt x="9603" y="2326"/>
                </a:lnTo>
                <a:lnTo>
                  <a:pt x="9603" y="3101"/>
                </a:lnTo>
                <a:lnTo>
                  <a:pt x="9603" y="3876"/>
                </a:lnTo>
                <a:lnTo>
                  <a:pt x="9603" y="4651"/>
                </a:lnTo>
                <a:lnTo>
                  <a:pt x="9603" y="5426"/>
                </a:lnTo>
                <a:lnTo>
                  <a:pt x="9603" y="6202"/>
                </a:lnTo>
                <a:lnTo>
                  <a:pt x="9324" y="5426"/>
                </a:lnTo>
                <a:lnTo>
                  <a:pt x="9047" y="4651"/>
                </a:lnTo>
                <a:lnTo>
                  <a:pt x="8769" y="3876"/>
                </a:lnTo>
                <a:lnTo>
                  <a:pt x="8492" y="3101"/>
                </a:lnTo>
                <a:lnTo>
                  <a:pt x="8214" y="2326"/>
                </a:lnTo>
                <a:lnTo>
                  <a:pt x="7937" y="1550"/>
                </a:lnTo>
                <a:lnTo>
                  <a:pt x="7660" y="775"/>
                </a:lnTo>
                <a:lnTo>
                  <a:pt x="7383" y="0"/>
                </a:lnTo>
                <a:lnTo>
                  <a:pt x="6598" y="0"/>
                </a:lnTo>
                <a:lnTo>
                  <a:pt x="5814" y="0"/>
                </a:lnTo>
                <a:lnTo>
                  <a:pt x="5814" y="775"/>
                </a:lnTo>
                <a:lnTo>
                  <a:pt x="5814" y="1550"/>
                </a:lnTo>
                <a:lnTo>
                  <a:pt x="5814" y="2326"/>
                </a:lnTo>
                <a:lnTo>
                  <a:pt x="5814" y="3101"/>
                </a:lnTo>
                <a:lnTo>
                  <a:pt x="5814" y="3876"/>
                </a:lnTo>
                <a:lnTo>
                  <a:pt x="5814" y="4651"/>
                </a:lnTo>
                <a:lnTo>
                  <a:pt x="5814" y="5426"/>
                </a:lnTo>
                <a:lnTo>
                  <a:pt x="5814" y="6202"/>
                </a:lnTo>
                <a:lnTo>
                  <a:pt x="5535" y="5426"/>
                </a:lnTo>
                <a:lnTo>
                  <a:pt x="5258" y="4651"/>
                </a:lnTo>
                <a:lnTo>
                  <a:pt x="4980" y="3876"/>
                </a:lnTo>
                <a:lnTo>
                  <a:pt x="4703" y="3101"/>
                </a:lnTo>
                <a:lnTo>
                  <a:pt x="4425" y="2326"/>
                </a:lnTo>
                <a:lnTo>
                  <a:pt x="4148" y="1550"/>
                </a:lnTo>
                <a:lnTo>
                  <a:pt x="3871" y="775"/>
                </a:lnTo>
                <a:lnTo>
                  <a:pt x="3594" y="0"/>
                </a:lnTo>
                <a:lnTo>
                  <a:pt x="2809" y="0"/>
                </a:lnTo>
                <a:lnTo>
                  <a:pt x="2025" y="0"/>
                </a:lnTo>
                <a:lnTo>
                  <a:pt x="2025" y="775"/>
                </a:lnTo>
                <a:lnTo>
                  <a:pt x="2025" y="1550"/>
                </a:lnTo>
                <a:lnTo>
                  <a:pt x="2025" y="2326"/>
                </a:lnTo>
                <a:lnTo>
                  <a:pt x="2025" y="3101"/>
                </a:lnTo>
                <a:lnTo>
                  <a:pt x="2025" y="3876"/>
                </a:lnTo>
                <a:lnTo>
                  <a:pt x="2025" y="4651"/>
                </a:lnTo>
                <a:lnTo>
                  <a:pt x="2025" y="5426"/>
                </a:lnTo>
                <a:lnTo>
                  <a:pt x="2025" y="6202"/>
                </a:lnTo>
                <a:lnTo>
                  <a:pt x="1771" y="5494"/>
                </a:lnTo>
                <a:lnTo>
                  <a:pt x="1518" y="4787"/>
                </a:lnTo>
                <a:lnTo>
                  <a:pt x="1265" y="4080"/>
                </a:lnTo>
                <a:lnTo>
                  <a:pt x="1012" y="3373"/>
                </a:lnTo>
                <a:lnTo>
                  <a:pt x="759" y="2665"/>
                </a:lnTo>
                <a:lnTo>
                  <a:pt x="506" y="1959"/>
                </a:lnTo>
                <a:lnTo>
                  <a:pt x="253" y="1251"/>
                </a:lnTo>
                <a:lnTo>
                  <a:pt x="0" y="545"/>
                </a:lnTo>
                <a:lnTo>
                  <a:pt x="0" y="1163"/>
                </a:lnTo>
                <a:lnTo>
                  <a:pt x="0" y="1781"/>
                </a:lnTo>
                <a:lnTo>
                  <a:pt x="0" y="2399"/>
                </a:lnTo>
                <a:lnTo>
                  <a:pt x="0" y="3017"/>
                </a:lnTo>
                <a:lnTo>
                  <a:pt x="308" y="3879"/>
                </a:lnTo>
                <a:lnTo>
                  <a:pt x="617" y="4741"/>
                </a:lnTo>
                <a:lnTo>
                  <a:pt x="925" y="5603"/>
                </a:lnTo>
                <a:lnTo>
                  <a:pt x="1234" y="6465"/>
                </a:lnTo>
                <a:lnTo>
                  <a:pt x="1234" y="7240"/>
                </a:lnTo>
                <a:lnTo>
                  <a:pt x="1234" y="8015"/>
                </a:lnTo>
                <a:lnTo>
                  <a:pt x="1234" y="8791"/>
                </a:lnTo>
                <a:lnTo>
                  <a:pt x="1234" y="9566"/>
                </a:lnTo>
                <a:lnTo>
                  <a:pt x="1234" y="10341"/>
                </a:lnTo>
                <a:lnTo>
                  <a:pt x="1234" y="11116"/>
                </a:lnTo>
                <a:lnTo>
                  <a:pt x="1234" y="11891"/>
                </a:lnTo>
                <a:lnTo>
                  <a:pt x="1234" y="12667"/>
                </a:lnTo>
                <a:lnTo>
                  <a:pt x="925" y="11805"/>
                </a:lnTo>
                <a:lnTo>
                  <a:pt x="617" y="10943"/>
                </a:lnTo>
                <a:lnTo>
                  <a:pt x="308" y="10081"/>
                </a:lnTo>
                <a:lnTo>
                  <a:pt x="0" y="9219"/>
                </a:lnTo>
                <a:lnTo>
                  <a:pt x="0" y="9835"/>
                </a:lnTo>
                <a:lnTo>
                  <a:pt x="0" y="10453"/>
                </a:lnTo>
                <a:lnTo>
                  <a:pt x="0" y="11071"/>
                </a:lnTo>
                <a:lnTo>
                  <a:pt x="0" y="11689"/>
                </a:lnTo>
                <a:lnTo>
                  <a:pt x="222" y="12309"/>
                </a:lnTo>
                <a:lnTo>
                  <a:pt x="444" y="12930"/>
                </a:lnTo>
                <a:lnTo>
                  <a:pt x="1228" y="12930"/>
                </a:lnTo>
                <a:lnTo>
                  <a:pt x="2014" y="12930"/>
                </a:lnTo>
                <a:lnTo>
                  <a:pt x="2014" y="12155"/>
                </a:lnTo>
                <a:lnTo>
                  <a:pt x="2014" y="11380"/>
                </a:lnTo>
                <a:lnTo>
                  <a:pt x="2014" y="10604"/>
                </a:lnTo>
                <a:lnTo>
                  <a:pt x="2014" y="9829"/>
                </a:lnTo>
                <a:lnTo>
                  <a:pt x="2014" y="9054"/>
                </a:lnTo>
                <a:lnTo>
                  <a:pt x="2014" y="8279"/>
                </a:lnTo>
                <a:lnTo>
                  <a:pt x="2014" y="7504"/>
                </a:lnTo>
                <a:lnTo>
                  <a:pt x="2014" y="6728"/>
                </a:lnTo>
                <a:lnTo>
                  <a:pt x="2291" y="7504"/>
                </a:lnTo>
                <a:lnTo>
                  <a:pt x="2568" y="8279"/>
                </a:lnTo>
                <a:lnTo>
                  <a:pt x="2845" y="9054"/>
                </a:lnTo>
                <a:lnTo>
                  <a:pt x="3123" y="9829"/>
                </a:lnTo>
                <a:lnTo>
                  <a:pt x="3400" y="10604"/>
                </a:lnTo>
                <a:lnTo>
                  <a:pt x="3678" y="11380"/>
                </a:lnTo>
                <a:lnTo>
                  <a:pt x="3955" y="12155"/>
                </a:lnTo>
                <a:lnTo>
                  <a:pt x="4233" y="12930"/>
                </a:lnTo>
                <a:lnTo>
                  <a:pt x="5017" y="12930"/>
                </a:lnTo>
                <a:lnTo>
                  <a:pt x="5803" y="12930"/>
                </a:lnTo>
                <a:lnTo>
                  <a:pt x="5803" y="12155"/>
                </a:lnTo>
                <a:lnTo>
                  <a:pt x="5803" y="11380"/>
                </a:lnTo>
                <a:lnTo>
                  <a:pt x="5803" y="10604"/>
                </a:lnTo>
                <a:lnTo>
                  <a:pt x="5803" y="9829"/>
                </a:lnTo>
                <a:lnTo>
                  <a:pt x="5803" y="9054"/>
                </a:lnTo>
                <a:lnTo>
                  <a:pt x="5803" y="8279"/>
                </a:lnTo>
                <a:lnTo>
                  <a:pt x="5803" y="7504"/>
                </a:lnTo>
                <a:lnTo>
                  <a:pt x="5803" y="6728"/>
                </a:lnTo>
                <a:lnTo>
                  <a:pt x="6080" y="7504"/>
                </a:lnTo>
                <a:lnTo>
                  <a:pt x="6357" y="8279"/>
                </a:lnTo>
                <a:lnTo>
                  <a:pt x="6634" y="9054"/>
                </a:lnTo>
                <a:lnTo>
                  <a:pt x="6912" y="9829"/>
                </a:lnTo>
                <a:lnTo>
                  <a:pt x="7189" y="10604"/>
                </a:lnTo>
                <a:lnTo>
                  <a:pt x="7467" y="11380"/>
                </a:lnTo>
                <a:lnTo>
                  <a:pt x="7744" y="12155"/>
                </a:lnTo>
                <a:lnTo>
                  <a:pt x="8022" y="12930"/>
                </a:lnTo>
                <a:lnTo>
                  <a:pt x="8807" y="12930"/>
                </a:lnTo>
                <a:lnTo>
                  <a:pt x="9592" y="12930"/>
                </a:lnTo>
                <a:lnTo>
                  <a:pt x="9592" y="12155"/>
                </a:lnTo>
                <a:lnTo>
                  <a:pt x="9592" y="11380"/>
                </a:lnTo>
                <a:lnTo>
                  <a:pt x="9592" y="10604"/>
                </a:lnTo>
                <a:lnTo>
                  <a:pt x="9592" y="9829"/>
                </a:lnTo>
                <a:lnTo>
                  <a:pt x="9592" y="9054"/>
                </a:lnTo>
                <a:lnTo>
                  <a:pt x="9592" y="8279"/>
                </a:lnTo>
                <a:lnTo>
                  <a:pt x="9592" y="7504"/>
                </a:lnTo>
                <a:lnTo>
                  <a:pt x="9592" y="6728"/>
                </a:lnTo>
                <a:lnTo>
                  <a:pt x="9870" y="7504"/>
                </a:lnTo>
                <a:lnTo>
                  <a:pt x="10147" y="8279"/>
                </a:lnTo>
                <a:lnTo>
                  <a:pt x="10424" y="9054"/>
                </a:lnTo>
                <a:lnTo>
                  <a:pt x="10702" y="9829"/>
                </a:lnTo>
                <a:lnTo>
                  <a:pt x="10979" y="10604"/>
                </a:lnTo>
                <a:lnTo>
                  <a:pt x="11256" y="11380"/>
                </a:lnTo>
                <a:lnTo>
                  <a:pt x="11533" y="12155"/>
                </a:lnTo>
                <a:lnTo>
                  <a:pt x="11811" y="12930"/>
                </a:lnTo>
                <a:lnTo>
                  <a:pt x="12596" y="12930"/>
                </a:lnTo>
                <a:lnTo>
                  <a:pt x="13381" y="12930"/>
                </a:lnTo>
                <a:lnTo>
                  <a:pt x="13381" y="12155"/>
                </a:lnTo>
                <a:lnTo>
                  <a:pt x="13381" y="11380"/>
                </a:lnTo>
                <a:lnTo>
                  <a:pt x="13381" y="10604"/>
                </a:lnTo>
                <a:lnTo>
                  <a:pt x="13381" y="9829"/>
                </a:lnTo>
                <a:lnTo>
                  <a:pt x="13381" y="9054"/>
                </a:lnTo>
                <a:lnTo>
                  <a:pt x="13381" y="8279"/>
                </a:lnTo>
                <a:lnTo>
                  <a:pt x="13381" y="7504"/>
                </a:lnTo>
                <a:lnTo>
                  <a:pt x="13381" y="6728"/>
                </a:lnTo>
                <a:lnTo>
                  <a:pt x="13629" y="7420"/>
                </a:lnTo>
                <a:lnTo>
                  <a:pt x="13877" y="8113"/>
                </a:lnTo>
                <a:lnTo>
                  <a:pt x="14125" y="8806"/>
                </a:lnTo>
                <a:lnTo>
                  <a:pt x="14373" y="9498"/>
                </a:lnTo>
                <a:lnTo>
                  <a:pt x="14620" y="10191"/>
                </a:lnTo>
                <a:lnTo>
                  <a:pt x="14868" y="10884"/>
                </a:lnTo>
                <a:lnTo>
                  <a:pt x="15116" y="11577"/>
                </a:lnTo>
                <a:lnTo>
                  <a:pt x="15364" y="12270"/>
                </a:lnTo>
                <a:lnTo>
                  <a:pt x="15364" y="11652"/>
                </a:lnTo>
                <a:lnTo>
                  <a:pt x="15364" y="11034"/>
                </a:lnTo>
                <a:lnTo>
                  <a:pt x="15364" y="10416"/>
                </a:lnTo>
                <a:lnTo>
                  <a:pt x="15364" y="9798"/>
                </a:lnTo>
                <a:lnTo>
                  <a:pt x="15066" y="8964"/>
                </a:lnTo>
                <a:lnTo>
                  <a:pt x="14768" y="8131"/>
                </a:lnTo>
                <a:lnTo>
                  <a:pt x="14470" y="7297"/>
                </a:lnTo>
                <a:lnTo>
                  <a:pt x="14172" y="6465"/>
                </a:lnTo>
                <a:lnTo>
                  <a:pt x="14172" y="5690"/>
                </a:lnTo>
                <a:lnTo>
                  <a:pt x="14172" y="4915"/>
                </a:lnTo>
                <a:lnTo>
                  <a:pt x="14172" y="4139"/>
                </a:lnTo>
                <a:lnTo>
                  <a:pt x="14172" y="3364"/>
                </a:lnTo>
                <a:lnTo>
                  <a:pt x="14172" y="2589"/>
                </a:lnTo>
                <a:lnTo>
                  <a:pt x="14172" y="1814"/>
                </a:lnTo>
                <a:lnTo>
                  <a:pt x="14172" y="1039"/>
                </a:lnTo>
                <a:lnTo>
                  <a:pt x="14172" y="263"/>
                </a:lnTo>
                <a:lnTo>
                  <a:pt x="14470" y="1095"/>
                </a:lnTo>
                <a:lnTo>
                  <a:pt x="14768" y="1929"/>
                </a:lnTo>
                <a:lnTo>
                  <a:pt x="15066" y="2763"/>
                </a:lnTo>
                <a:lnTo>
                  <a:pt x="15364" y="3596"/>
                </a:lnTo>
                <a:close/>
                <a:moveTo>
                  <a:pt x="5023" y="12667"/>
                </a:moveTo>
                <a:lnTo>
                  <a:pt x="4745" y="11891"/>
                </a:lnTo>
                <a:lnTo>
                  <a:pt x="4468" y="11116"/>
                </a:lnTo>
                <a:lnTo>
                  <a:pt x="4190" y="10341"/>
                </a:lnTo>
                <a:lnTo>
                  <a:pt x="3913" y="9566"/>
                </a:lnTo>
                <a:lnTo>
                  <a:pt x="3635" y="8791"/>
                </a:lnTo>
                <a:lnTo>
                  <a:pt x="3358" y="8015"/>
                </a:lnTo>
                <a:lnTo>
                  <a:pt x="3081" y="7240"/>
                </a:lnTo>
                <a:lnTo>
                  <a:pt x="2804" y="6465"/>
                </a:lnTo>
                <a:lnTo>
                  <a:pt x="2804" y="5690"/>
                </a:lnTo>
                <a:lnTo>
                  <a:pt x="2804" y="4915"/>
                </a:lnTo>
                <a:lnTo>
                  <a:pt x="2804" y="4139"/>
                </a:lnTo>
                <a:lnTo>
                  <a:pt x="2804" y="3364"/>
                </a:lnTo>
                <a:lnTo>
                  <a:pt x="2804" y="2589"/>
                </a:lnTo>
                <a:lnTo>
                  <a:pt x="2804" y="1814"/>
                </a:lnTo>
                <a:lnTo>
                  <a:pt x="2804" y="1039"/>
                </a:lnTo>
                <a:lnTo>
                  <a:pt x="2804" y="263"/>
                </a:lnTo>
                <a:lnTo>
                  <a:pt x="3081" y="1039"/>
                </a:lnTo>
                <a:lnTo>
                  <a:pt x="3358" y="1814"/>
                </a:lnTo>
                <a:lnTo>
                  <a:pt x="3635" y="2589"/>
                </a:lnTo>
                <a:lnTo>
                  <a:pt x="3913" y="3364"/>
                </a:lnTo>
                <a:lnTo>
                  <a:pt x="4190" y="4139"/>
                </a:lnTo>
                <a:lnTo>
                  <a:pt x="4468" y="4915"/>
                </a:lnTo>
                <a:lnTo>
                  <a:pt x="4745" y="5690"/>
                </a:lnTo>
                <a:lnTo>
                  <a:pt x="5023" y="6465"/>
                </a:lnTo>
                <a:lnTo>
                  <a:pt x="5023" y="7240"/>
                </a:lnTo>
                <a:lnTo>
                  <a:pt x="5023" y="8015"/>
                </a:lnTo>
                <a:lnTo>
                  <a:pt x="5023" y="8791"/>
                </a:lnTo>
                <a:lnTo>
                  <a:pt x="5023" y="9566"/>
                </a:lnTo>
                <a:lnTo>
                  <a:pt x="5023" y="10341"/>
                </a:lnTo>
                <a:lnTo>
                  <a:pt x="5023" y="11116"/>
                </a:lnTo>
                <a:lnTo>
                  <a:pt x="5023" y="11891"/>
                </a:lnTo>
                <a:lnTo>
                  <a:pt x="5023" y="12667"/>
                </a:lnTo>
                <a:close/>
                <a:moveTo>
                  <a:pt x="8812" y="6465"/>
                </a:moveTo>
                <a:lnTo>
                  <a:pt x="8812" y="7240"/>
                </a:lnTo>
                <a:lnTo>
                  <a:pt x="8812" y="8015"/>
                </a:lnTo>
                <a:lnTo>
                  <a:pt x="8812" y="8791"/>
                </a:lnTo>
                <a:lnTo>
                  <a:pt x="8812" y="9566"/>
                </a:lnTo>
                <a:lnTo>
                  <a:pt x="8812" y="10341"/>
                </a:lnTo>
                <a:lnTo>
                  <a:pt x="8812" y="11116"/>
                </a:lnTo>
                <a:lnTo>
                  <a:pt x="8812" y="11891"/>
                </a:lnTo>
                <a:lnTo>
                  <a:pt x="8812" y="12667"/>
                </a:lnTo>
                <a:lnTo>
                  <a:pt x="8534" y="11891"/>
                </a:lnTo>
                <a:lnTo>
                  <a:pt x="8257" y="11116"/>
                </a:lnTo>
                <a:lnTo>
                  <a:pt x="7979" y="10341"/>
                </a:lnTo>
                <a:lnTo>
                  <a:pt x="7702" y="9566"/>
                </a:lnTo>
                <a:lnTo>
                  <a:pt x="7424" y="8791"/>
                </a:lnTo>
                <a:lnTo>
                  <a:pt x="7147" y="8015"/>
                </a:lnTo>
                <a:lnTo>
                  <a:pt x="6870" y="7240"/>
                </a:lnTo>
                <a:lnTo>
                  <a:pt x="6593" y="6465"/>
                </a:lnTo>
                <a:lnTo>
                  <a:pt x="6593" y="5690"/>
                </a:lnTo>
                <a:lnTo>
                  <a:pt x="6593" y="4915"/>
                </a:lnTo>
                <a:lnTo>
                  <a:pt x="6593" y="4139"/>
                </a:lnTo>
                <a:lnTo>
                  <a:pt x="6593" y="3364"/>
                </a:lnTo>
                <a:lnTo>
                  <a:pt x="6593" y="2589"/>
                </a:lnTo>
                <a:lnTo>
                  <a:pt x="6593" y="1814"/>
                </a:lnTo>
                <a:lnTo>
                  <a:pt x="6593" y="1039"/>
                </a:lnTo>
                <a:lnTo>
                  <a:pt x="6593" y="263"/>
                </a:lnTo>
                <a:lnTo>
                  <a:pt x="6870" y="1039"/>
                </a:lnTo>
                <a:lnTo>
                  <a:pt x="7147" y="1814"/>
                </a:lnTo>
                <a:lnTo>
                  <a:pt x="7424" y="2589"/>
                </a:lnTo>
                <a:lnTo>
                  <a:pt x="7702" y="3364"/>
                </a:lnTo>
                <a:lnTo>
                  <a:pt x="7979" y="4139"/>
                </a:lnTo>
                <a:lnTo>
                  <a:pt x="8257" y="4915"/>
                </a:lnTo>
                <a:lnTo>
                  <a:pt x="8534" y="5690"/>
                </a:lnTo>
                <a:lnTo>
                  <a:pt x="8812" y="6465"/>
                </a:lnTo>
                <a:close/>
                <a:moveTo>
                  <a:pt x="12601" y="12667"/>
                </a:moveTo>
                <a:lnTo>
                  <a:pt x="12323" y="11891"/>
                </a:lnTo>
                <a:lnTo>
                  <a:pt x="12046" y="11116"/>
                </a:lnTo>
                <a:lnTo>
                  <a:pt x="11769" y="10341"/>
                </a:lnTo>
                <a:lnTo>
                  <a:pt x="11492" y="9566"/>
                </a:lnTo>
                <a:lnTo>
                  <a:pt x="11214" y="8791"/>
                </a:lnTo>
                <a:lnTo>
                  <a:pt x="10937" y="8015"/>
                </a:lnTo>
                <a:lnTo>
                  <a:pt x="10660" y="7240"/>
                </a:lnTo>
                <a:lnTo>
                  <a:pt x="10383" y="6465"/>
                </a:lnTo>
                <a:lnTo>
                  <a:pt x="10383" y="5690"/>
                </a:lnTo>
                <a:lnTo>
                  <a:pt x="10383" y="4915"/>
                </a:lnTo>
                <a:lnTo>
                  <a:pt x="10383" y="4139"/>
                </a:lnTo>
                <a:lnTo>
                  <a:pt x="10383" y="3364"/>
                </a:lnTo>
                <a:lnTo>
                  <a:pt x="10383" y="2589"/>
                </a:lnTo>
                <a:lnTo>
                  <a:pt x="10383" y="1814"/>
                </a:lnTo>
                <a:lnTo>
                  <a:pt x="10383" y="1039"/>
                </a:lnTo>
                <a:lnTo>
                  <a:pt x="10383" y="263"/>
                </a:lnTo>
                <a:lnTo>
                  <a:pt x="10660" y="1039"/>
                </a:lnTo>
                <a:lnTo>
                  <a:pt x="10937" y="1814"/>
                </a:lnTo>
                <a:lnTo>
                  <a:pt x="11214" y="2589"/>
                </a:lnTo>
                <a:lnTo>
                  <a:pt x="11492" y="3364"/>
                </a:lnTo>
                <a:lnTo>
                  <a:pt x="11769" y="4139"/>
                </a:lnTo>
                <a:lnTo>
                  <a:pt x="12046" y="4915"/>
                </a:lnTo>
                <a:lnTo>
                  <a:pt x="12323" y="5690"/>
                </a:lnTo>
                <a:lnTo>
                  <a:pt x="12601" y="6465"/>
                </a:lnTo>
                <a:lnTo>
                  <a:pt x="12601" y="7240"/>
                </a:lnTo>
                <a:lnTo>
                  <a:pt x="12601" y="8015"/>
                </a:lnTo>
                <a:lnTo>
                  <a:pt x="12601" y="8791"/>
                </a:lnTo>
                <a:lnTo>
                  <a:pt x="12601" y="9566"/>
                </a:lnTo>
                <a:lnTo>
                  <a:pt x="12601" y="10341"/>
                </a:lnTo>
                <a:lnTo>
                  <a:pt x="12601" y="11116"/>
                </a:lnTo>
                <a:lnTo>
                  <a:pt x="12601" y="11891"/>
                </a:lnTo>
                <a:lnTo>
                  <a:pt x="12601" y="12667"/>
                </a:lnTo>
                <a:close/>
              </a:path>
            </a:pathLst>
          </a:custGeom>
          <a:solidFill>
            <a:srgbClr val="A3009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8B917-C125-AA41-882A-2481DF42FB28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0CD7DF4-AA1E-0372-409F-C036BB022C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7E6907D-DAD1-706A-9FD6-B77CE93DFC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3023317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41538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4th">
    <p:bg>
      <p:bgPr>
        <a:solidFill>
          <a:srgbClr val="FFDB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>
            <a:extLst>
              <a:ext uri="{FF2B5EF4-FFF2-40B4-BE49-F238E27FC236}">
                <a16:creationId xmlns:a16="http://schemas.microsoft.com/office/drawing/2014/main" id="{AB0678E6-B763-4ACC-A36F-CB1E835C30E6}"/>
              </a:ext>
            </a:extLst>
          </p:cNvPr>
          <p:cNvSpPr>
            <a:spLocks noEditPoints="1"/>
          </p:cNvSpPr>
          <p:nvPr/>
        </p:nvSpPr>
        <p:spPr bwMode="auto">
          <a:xfrm>
            <a:off x="0" y="7938"/>
            <a:ext cx="12192000" cy="6842125"/>
          </a:xfrm>
          <a:custGeom>
            <a:avLst/>
            <a:gdLst>
              <a:gd name="T0" fmla="*/ 15364 w 15364"/>
              <a:gd name="T1" fmla="*/ 1125 h 12930"/>
              <a:gd name="T2" fmla="*/ 13391 w 15364"/>
              <a:gd name="T3" fmla="*/ 1550 h 12930"/>
              <a:gd name="T4" fmla="*/ 13391 w 15364"/>
              <a:gd name="T5" fmla="*/ 5426 h 12930"/>
              <a:gd name="T6" fmla="*/ 12282 w 15364"/>
              <a:gd name="T7" fmla="*/ 3101 h 12930"/>
              <a:gd name="T8" fmla="*/ 10388 w 15364"/>
              <a:gd name="T9" fmla="*/ 0 h 12930"/>
              <a:gd name="T10" fmla="*/ 9603 w 15364"/>
              <a:gd name="T11" fmla="*/ 3101 h 12930"/>
              <a:gd name="T12" fmla="*/ 9324 w 15364"/>
              <a:gd name="T13" fmla="*/ 5426 h 12930"/>
              <a:gd name="T14" fmla="*/ 7937 w 15364"/>
              <a:gd name="T15" fmla="*/ 1550 h 12930"/>
              <a:gd name="T16" fmla="*/ 5814 w 15364"/>
              <a:gd name="T17" fmla="*/ 775 h 12930"/>
              <a:gd name="T18" fmla="*/ 5814 w 15364"/>
              <a:gd name="T19" fmla="*/ 4651 h 12930"/>
              <a:gd name="T20" fmla="*/ 4980 w 15364"/>
              <a:gd name="T21" fmla="*/ 3876 h 12930"/>
              <a:gd name="T22" fmla="*/ 3594 w 15364"/>
              <a:gd name="T23" fmla="*/ 0 h 12930"/>
              <a:gd name="T24" fmla="*/ 2025 w 15364"/>
              <a:gd name="T25" fmla="*/ 2326 h 12930"/>
              <a:gd name="T26" fmla="*/ 2025 w 15364"/>
              <a:gd name="T27" fmla="*/ 6202 h 12930"/>
              <a:gd name="T28" fmla="*/ 759 w 15364"/>
              <a:gd name="T29" fmla="*/ 2665 h 12930"/>
              <a:gd name="T30" fmla="*/ 0 w 15364"/>
              <a:gd name="T31" fmla="*/ 1781 h 12930"/>
              <a:gd name="T32" fmla="*/ 925 w 15364"/>
              <a:gd name="T33" fmla="*/ 5603 h 12930"/>
              <a:gd name="T34" fmla="*/ 1234 w 15364"/>
              <a:gd name="T35" fmla="*/ 9566 h 12930"/>
              <a:gd name="T36" fmla="*/ 925 w 15364"/>
              <a:gd name="T37" fmla="*/ 11805 h 12930"/>
              <a:gd name="T38" fmla="*/ 0 w 15364"/>
              <a:gd name="T39" fmla="*/ 10453 h 12930"/>
              <a:gd name="T40" fmla="*/ 1228 w 15364"/>
              <a:gd name="T41" fmla="*/ 12930 h 12930"/>
              <a:gd name="T42" fmla="*/ 2014 w 15364"/>
              <a:gd name="T43" fmla="*/ 9829 h 12930"/>
              <a:gd name="T44" fmla="*/ 2291 w 15364"/>
              <a:gd name="T45" fmla="*/ 7504 h 12930"/>
              <a:gd name="T46" fmla="*/ 3678 w 15364"/>
              <a:gd name="T47" fmla="*/ 11380 h 12930"/>
              <a:gd name="T48" fmla="*/ 5803 w 15364"/>
              <a:gd name="T49" fmla="*/ 12155 h 12930"/>
              <a:gd name="T50" fmla="*/ 5803 w 15364"/>
              <a:gd name="T51" fmla="*/ 8279 h 12930"/>
              <a:gd name="T52" fmla="*/ 6634 w 15364"/>
              <a:gd name="T53" fmla="*/ 9054 h 12930"/>
              <a:gd name="T54" fmla="*/ 8022 w 15364"/>
              <a:gd name="T55" fmla="*/ 12930 h 12930"/>
              <a:gd name="T56" fmla="*/ 9592 w 15364"/>
              <a:gd name="T57" fmla="*/ 10604 h 12930"/>
              <a:gd name="T58" fmla="*/ 9592 w 15364"/>
              <a:gd name="T59" fmla="*/ 6728 h 12930"/>
              <a:gd name="T60" fmla="*/ 10979 w 15364"/>
              <a:gd name="T61" fmla="*/ 10604 h 12930"/>
              <a:gd name="T62" fmla="*/ 13381 w 15364"/>
              <a:gd name="T63" fmla="*/ 12930 h 12930"/>
              <a:gd name="T64" fmla="*/ 13381 w 15364"/>
              <a:gd name="T65" fmla="*/ 9054 h 12930"/>
              <a:gd name="T66" fmla="*/ 13877 w 15364"/>
              <a:gd name="T67" fmla="*/ 8113 h 12930"/>
              <a:gd name="T68" fmla="*/ 15116 w 15364"/>
              <a:gd name="T69" fmla="*/ 11577 h 12930"/>
              <a:gd name="T70" fmla="*/ 15364 w 15364"/>
              <a:gd name="T71" fmla="*/ 9798 h 12930"/>
              <a:gd name="T72" fmla="*/ 14172 w 15364"/>
              <a:gd name="T73" fmla="*/ 5690 h 12930"/>
              <a:gd name="T74" fmla="*/ 14172 w 15364"/>
              <a:gd name="T75" fmla="*/ 1814 h 12930"/>
              <a:gd name="T76" fmla="*/ 15066 w 15364"/>
              <a:gd name="T77" fmla="*/ 2763 h 12930"/>
              <a:gd name="T78" fmla="*/ 4190 w 15364"/>
              <a:gd name="T79" fmla="*/ 10341 h 12930"/>
              <a:gd name="T80" fmla="*/ 2804 w 15364"/>
              <a:gd name="T81" fmla="*/ 6465 h 12930"/>
              <a:gd name="T82" fmla="*/ 2804 w 15364"/>
              <a:gd name="T83" fmla="*/ 2589 h 12930"/>
              <a:gd name="T84" fmla="*/ 3358 w 15364"/>
              <a:gd name="T85" fmla="*/ 1814 h 12930"/>
              <a:gd name="T86" fmla="*/ 4745 w 15364"/>
              <a:gd name="T87" fmla="*/ 5690 h 12930"/>
              <a:gd name="T88" fmla="*/ 5023 w 15364"/>
              <a:gd name="T89" fmla="*/ 9566 h 12930"/>
              <a:gd name="T90" fmla="*/ 8812 w 15364"/>
              <a:gd name="T91" fmla="*/ 6465 h 12930"/>
              <a:gd name="T92" fmla="*/ 8812 w 15364"/>
              <a:gd name="T93" fmla="*/ 10341 h 12930"/>
              <a:gd name="T94" fmla="*/ 8257 w 15364"/>
              <a:gd name="T95" fmla="*/ 11116 h 12930"/>
              <a:gd name="T96" fmla="*/ 6870 w 15364"/>
              <a:gd name="T97" fmla="*/ 7240 h 12930"/>
              <a:gd name="T98" fmla="*/ 6593 w 15364"/>
              <a:gd name="T99" fmla="*/ 3364 h 12930"/>
              <a:gd name="T100" fmla="*/ 6870 w 15364"/>
              <a:gd name="T101" fmla="*/ 1039 h 12930"/>
              <a:gd name="T102" fmla="*/ 8257 w 15364"/>
              <a:gd name="T103" fmla="*/ 4915 h 12930"/>
              <a:gd name="T104" fmla="*/ 12046 w 15364"/>
              <a:gd name="T105" fmla="*/ 11116 h 12930"/>
              <a:gd name="T106" fmla="*/ 10660 w 15364"/>
              <a:gd name="T107" fmla="*/ 7240 h 12930"/>
              <a:gd name="T108" fmla="*/ 10383 w 15364"/>
              <a:gd name="T109" fmla="*/ 3364 h 12930"/>
              <a:gd name="T110" fmla="*/ 10660 w 15364"/>
              <a:gd name="T111" fmla="*/ 1039 h 12930"/>
              <a:gd name="T112" fmla="*/ 12046 w 15364"/>
              <a:gd name="T113" fmla="*/ 4915 h 12930"/>
              <a:gd name="T114" fmla="*/ 12601 w 15364"/>
              <a:gd name="T115" fmla="*/ 8791 h 12930"/>
              <a:gd name="T116" fmla="*/ 12601 w 15364"/>
              <a:gd name="T117" fmla="*/ 12667 h 12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364" h="12930">
                <a:moveTo>
                  <a:pt x="15364" y="3596"/>
                </a:moveTo>
                <a:lnTo>
                  <a:pt x="15364" y="2978"/>
                </a:lnTo>
                <a:lnTo>
                  <a:pt x="15364" y="2360"/>
                </a:lnTo>
                <a:lnTo>
                  <a:pt x="15364" y="1742"/>
                </a:lnTo>
                <a:lnTo>
                  <a:pt x="15364" y="1125"/>
                </a:lnTo>
                <a:lnTo>
                  <a:pt x="14962" y="0"/>
                </a:lnTo>
                <a:lnTo>
                  <a:pt x="14177" y="0"/>
                </a:lnTo>
                <a:lnTo>
                  <a:pt x="13391" y="0"/>
                </a:lnTo>
                <a:lnTo>
                  <a:pt x="13391" y="775"/>
                </a:lnTo>
                <a:lnTo>
                  <a:pt x="13391" y="1550"/>
                </a:lnTo>
                <a:lnTo>
                  <a:pt x="13391" y="2326"/>
                </a:lnTo>
                <a:lnTo>
                  <a:pt x="13391" y="3101"/>
                </a:lnTo>
                <a:lnTo>
                  <a:pt x="13391" y="3876"/>
                </a:lnTo>
                <a:lnTo>
                  <a:pt x="13391" y="4651"/>
                </a:lnTo>
                <a:lnTo>
                  <a:pt x="13391" y="5426"/>
                </a:lnTo>
                <a:lnTo>
                  <a:pt x="13391" y="6202"/>
                </a:lnTo>
                <a:lnTo>
                  <a:pt x="13113" y="5426"/>
                </a:lnTo>
                <a:lnTo>
                  <a:pt x="12836" y="4651"/>
                </a:lnTo>
                <a:lnTo>
                  <a:pt x="12559" y="3876"/>
                </a:lnTo>
                <a:lnTo>
                  <a:pt x="12282" y="3101"/>
                </a:lnTo>
                <a:lnTo>
                  <a:pt x="12004" y="2326"/>
                </a:lnTo>
                <a:lnTo>
                  <a:pt x="11727" y="1550"/>
                </a:lnTo>
                <a:lnTo>
                  <a:pt x="11450" y="775"/>
                </a:lnTo>
                <a:lnTo>
                  <a:pt x="11173" y="0"/>
                </a:lnTo>
                <a:lnTo>
                  <a:pt x="10388" y="0"/>
                </a:lnTo>
                <a:lnTo>
                  <a:pt x="9603" y="0"/>
                </a:lnTo>
                <a:lnTo>
                  <a:pt x="9603" y="775"/>
                </a:lnTo>
                <a:lnTo>
                  <a:pt x="9603" y="1550"/>
                </a:lnTo>
                <a:lnTo>
                  <a:pt x="9603" y="2326"/>
                </a:lnTo>
                <a:lnTo>
                  <a:pt x="9603" y="3101"/>
                </a:lnTo>
                <a:lnTo>
                  <a:pt x="9603" y="3876"/>
                </a:lnTo>
                <a:lnTo>
                  <a:pt x="9603" y="4651"/>
                </a:lnTo>
                <a:lnTo>
                  <a:pt x="9603" y="5426"/>
                </a:lnTo>
                <a:lnTo>
                  <a:pt x="9603" y="6202"/>
                </a:lnTo>
                <a:lnTo>
                  <a:pt x="9324" y="5426"/>
                </a:lnTo>
                <a:lnTo>
                  <a:pt x="9047" y="4651"/>
                </a:lnTo>
                <a:lnTo>
                  <a:pt x="8769" y="3876"/>
                </a:lnTo>
                <a:lnTo>
                  <a:pt x="8492" y="3101"/>
                </a:lnTo>
                <a:lnTo>
                  <a:pt x="8214" y="2326"/>
                </a:lnTo>
                <a:lnTo>
                  <a:pt x="7937" y="1550"/>
                </a:lnTo>
                <a:lnTo>
                  <a:pt x="7660" y="775"/>
                </a:lnTo>
                <a:lnTo>
                  <a:pt x="7383" y="0"/>
                </a:lnTo>
                <a:lnTo>
                  <a:pt x="6598" y="0"/>
                </a:lnTo>
                <a:lnTo>
                  <a:pt x="5814" y="0"/>
                </a:lnTo>
                <a:lnTo>
                  <a:pt x="5814" y="775"/>
                </a:lnTo>
                <a:lnTo>
                  <a:pt x="5814" y="1550"/>
                </a:lnTo>
                <a:lnTo>
                  <a:pt x="5814" y="2326"/>
                </a:lnTo>
                <a:lnTo>
                  <a:pt x="5814" y="3101"/>
                </a:lnTo>
                <a:lnTo>
                  <a:pt x="5814" y="3876"/>
                </a:lnTo>
                <a:lnTo>
                  <a:pt x="5814" y="4651"/>
                </a:lnTo>
                <a:lnTo>
                  <a:pt x="5814" y="5426"/>
                </a:lnTo>
                <a:lnTo>
                  <a:pt x="5814" y="6202"/>
                </a:lnTo>
                <a:lnTo>
                  <a:pt x="5535" y="5426"/>
                </a:lnTo>
                <a:lnTo>
                  <a:pt x="5258" y="4651"/>
                </a:lnTo>
                <a:lnTo>
                  <a:pt x="4980" y="3876"/>
                </a:lnTo>
                <a:lnTo>
                  <a:pt x="4703" y="3101"/>
                </a:lnTo>
                <a:lnTo>
                  <a:pt x="4425" y="2326"/>
                </a:lnTo>
                <a:lnTo>
                  <a:pt x="4148" y="1550"/>
                </a:lnTo>
                <a:lnTo>
                  <a:pt x="3871" y="775"/>
                </a:lnTo>
                <a:lnTo>
                  <a:pt x="3594" y="0"/>
                </a:lnTo>
                <a:lnTo>
                  <a:pt x="2809" y="0"/>
                </a:lnTo>
                <a:lnTo>
                  <a:pt x="2025" y="0"/>
                </a:lnTo>
                <a:lnTo>
                  <a:pt x="2025" y="775"/>
                </a:lnTo>
                <a:lnTo>
                  <a:pt x="2025" y="1550"/>
                </a:lnTo>
                <a:lnTo>
                  <a:pt x="2025" y="2326"/>
                </a:lnTo>
                <a:lnTo>
                  <a:pt x="2025" y="3101"/>
                </a:lnTo>
                <a:lnTo>
                  <a:pt x="2025" y="3876"/>
                </a:lnTo>
                <a:lnTo>
                  <a:pt x="2025" y="4651"/>
                </a:lnTo>
                <a:lnTo>
                  <a:pt x="2025" y="5426"/>
                </a:lnTo>
                <a:lnTo>
                  <a:pt x="2025" y="6202"/>
                </a:lnTo>
                <a:lnTo>
                  <a:pt x="1771" y="5494"/>
                </a:lnTo>
                <a:lnTo>
                  <a:pt x="1518" y="4787"/>
                </a:lnTo>
                <a:lnTo>
                  <a:pt x="1265" y="4080"/>
                </a:lnTo>
                <a:lnTo>
                  <a:pt x="1012" y="3373"/>
                </a:lnTo>
                <a:lnTo>
                  <a:pt x="759" y="2665"/>
                </a:lnTo>
                <a:lnTo>
                  <a:pt x="506" y="1959"/>
                </a:lnTo>
                <a:lnTo>
                  <a:pt x="253" y="1251"/>
                </a:lnTo>
                <a:lnTo>
                  <a:pt x="0" y="545"/>
                </a:lnTo>
                <a:lnTo>
                  <a:pt x="0" y="1163"/>
                </a:lnTo>
                <a:lnTo>
                  <a:pt x="0" y="1781"/>
                </a:lnTo>
                <a:lnTo>
                  <a:pt x="0" y="2399"/>
                </a:lnTo>
                <a:lnTo>
                  <a:pt x="0" y="3017"/>
                </a:lnTo>
                <a:lnTo>
                  <a:pt x="308" y="3879"/>
                </a:lnTo>
                <a:lnTo>
                  <a:pt x="617" y="4741"/>
                </a:lnTo>
                <a:lnTo>
                  <a:pt x="925" y="5603"/>
                </a:lnTo>
                <a:lnTo>
                  <a:pt x="1234" y="6465"/>
                </a:lnTo>
                <a:lnTo>
                  <a:pt x="1234" y="7240"/>
                </a:lnTo>
                <a:lnTo>
                  <a:pt x="1234" y="8015"/>
                </a:lnTo>
                <a:lnTo>
                  <a:pt x="1234" y="8791"/>
                </a:lnTo>
                <a:lnTo>
                  <a:pt x="1234" y="9566"/>
                </a:lnTo>
                <a:lnTo>
                  <a:pt x="1234" y="10341"/>
                </a:lnTo>
                <a:lnTo>
                  <a:pt x="1234" y="11116"/>
                </a:lnTo>
                <a:lnTo>
                  <a:pt x="1234" y="11891"/>
                </a:lnTo>
                <a:lnTo>
                  <a:pt x="1234" y="12667"/>
                </a:lnTo>
                <a:lnTo>
                  <a:pt x="925" y="11805"/>
                </a:lnTo>
                <a:lnTo>
                  <a:pt x="617" y="10943"/>
                </a:lnTo>
                <a:lnTo>
                  <a:pt x="308" y="10081"/>
                </a:lnTo>
                <a:lnTo>
                  <a:pt x="0" y="9219"/>
                </a:lnTo>
                <a:lnTo>
                  <a:pt x="0" y="9835"/>
                </a:lnTo>
                <a:lnTo>
                  <a:pt x="0" y="10453"/>
                </a:lnTo>
                <a:lnTo>
                  <a:pt x="0" y="11071"/>
                </a:lnTo>
                <a:lnTo>
                  <a:pt x="0" y="11689"/>
                </a:lnTo>
                <a:lnTo>
                  <a:pt x="222" y="12309"/>
                </a:lnTo>
                <a:lnTo>
                  <a:pt x="444" y="12930"/>
                </a:lnTo>
                <a:lnTo>
                  <a:pt x="1228" y="12930"/>
                </a:lnTo>
                <a:lnTo>
                  <a:pt x="2014" y="12930"/>
                </a:lnTo>
                <a:lnTo>
                  <a:pt x="2014" y="12155"/>
                </a:lnTo>
                <a:lnTo>
                  <a:pt x="2014" y="11380"/>
                </a:lnTo>
                <a:lnTo>
                  <a:pt x="2014" y="10604"/>
                </a:lnTo>
                <a:lnTo>
                  <a:pt x="2014" y="9829"/>
                </a:lnTo>
                <a:lnTo>
                  <a:pt x="2014" y="9054"/>
                </a:lnTo>
                <a:lnTo>
                  <a:pt x="2014" y="8279"/>
                </a:lnTo>
                <a:lnTo>
                  <a:pt x="2014" y="7504"/>
                </a:lnTo>
                <a:lnTo>
                  <a:pt x="2014" y="6728"/>
                </a:lnTo>
                <a:lnTo>
                  <a:pt x="2291" y="7504"/>
                </a:lnTo>
                <a:lnTo>
                  <a:pt x="2568" y="8279"/>
                </a:lnTo>
                <a:lnTo>
                  <a:pt x="2845" y="9054"/>
                </a:lnTo>
                <a:lnTo>
                  <a:pt x="3123" y="9829"/>
                </a:lnTo>
                <a:lnTo>
                  <a:pt x="3400" y="10604"/>
                </a:lnTo>
                <a:lnTo>
                  <a:pt x="3678" y="11380"/>
                </a:lnTo>
                <a:lnTo>
                  <a:pt x="3955" y="12155"/>
                </a:lnTo>
                <a:lnTo>
                  <a:pt x="4233" y="12930"/>
                </a:lnTo>
                <a:lnTo>
                  <a:pt x="5017" y="12930"/>
                </a:lnTo>
                <a:lnTo>
                  <a:pt x="5803" y="12930"/>
                </a:lnTo>
                <a:lnTo>
                  <a:pt x="5803" y="12155"/>
                </a:lnTo>
                <a:lnTo>
                  <a:pt x="5803" y="11380"/>
                </a:lnTo>
                <a:lnTo>
                  <a:pt x="5803" y="10604"/>
                </a:lnTo>
                <a:lnTo>
                  <a:pt x="5803" y="9829"/>
                </a:lnTo>
                <a:lnTo>
                  <a:pt x="5803" y="9054"/>
                </a:lnTo>
                <a:lnTo>
                  <a:pt x="5803" y="8279"/>
                </a:lnTo>
                <a:lnTo>
                  <a:pt x="5803" y="7504"/>
                </a:lnTo>
                <a:lnTo>
                  <a:pt x="5803" y="6728"/>
                </a:lnTo>
                <a:lnTo>
                  <a:pt x="6080" y="7504"/>
                </a:lnTo>
                <a:lnTo>
                  <a:pt x="6357" y="8279"/>
                </a:lnTo>
                <a:lnTo>
                  <a:pt x="6634" y="9054"/>
                </a:lnTo>
                <a:lnTo>
                  <a:pt x="6912" y="9829"/>
                </a:lnTo>
                <a:lnTo>
                  <a:pt x="7189" y="10604"/>
                </a:lnTo>
                <a:lnTo>
                  <a:pt x="7467" y="11380"/>
                </a:lnTo>
                <a:lnTo>
                  <a:pt x="7744" y="12155"/>
                </a:lnTo>
                <a:lnTo>
                  <a:pt x="8022" y="12930"/>
                </a:lnTo>
                <a:lnTo>
                  <a:pt x="8807" y="12930"/>
                </a:lnTo>
                <a:lnTo>
                  <a:pt x="9592" y="12930"/>
                </a:lnTo>
                <a:lnTo>
                  <a:pt x="9592" y="12155"/>
                </a:lnTo>
                <a:lnTo>
                  <a:pt x="9592" y="11380"/>
                </a:lnTo>
                <a:lnTo>
                  <a:pt x="9592" y="10604"/>
                </a:lnTo>
                <a:lnTo>
                  <a:pt x="9592" y="9829"/>
                </a:lnTo>
                <a:lnTo>
                  <a:pt x="9592" y="9054"/>
                </a:lnTo>
                <a:lnTo>
                  <a:pt x="9592" y="8279"/>
                </a:lnTo>
                <a:lnTo>
                  <a:pt x="9592" y="7504"/>
                </a:lnTo>
                <a:lnTo>
                  <a:pt x="9592" y="6728"/>
                </a:lnTo>
                <a:lnTo>
                  <a:pt x="9870" y="7504"/>
                </a:lnTo>
                <a:lnTo>
                  <a:pt x="10147" y="8279"/>
                </a:lnTo>
                <a:lnTo>
                  <a:pt x="10424" y="9054"/>
                </a:lnTo>
                <a:lnTo>
                  <a:pt x="10702" y="9829"/>
                </a:lnTo>
                <a:lnTo>
                  <a:pt x="10979" y="10604"/>
                </a:lnTo>
                <a:lnTo>
                  <a:pt x="11256" y="11380"/>
                </a:lnTo>
                <a:lnTo>
                  <a:pt x="11533" y="12155"/>
                </a:lnTo>
                <a:lnTo>
                  <a:pt x="11811" y="12930"/>
                </a:lnTo>
                <a:lnTo>
                  <a:pt x="12596" y="12930"/>
                </a:lnTo>
                <a:lnTo>
                  <a:pt x="13381" y="12930"/>
                </a:lnTo>
                <a:lnTo>
                  <a:pt x="13381" y="12155"/>
                </a:lnTo>
                <a:lnTo>
                  <a:pt x="13381" y="11380"/>
                </a:lnTo>
                <a:lnTo>
                  <a:pt x="13381" y="10604"/>
                </a:lnTo>
                <a:lnTo>
                  <a:pt x="13381" y="9829"/>
                </a:lnTo>
                <a:lnTo>
                  <a:pt x="13381" y="9054"/>
                </a:lnTo>
                <a:lnTo>
                  <a:pt x="13381" y="8279"/>
                </a:lnTo>
                <a:lnTo>
                  <a:pt x="13381" y="7504"/>
                </a:lnTo>
                <a:lnTo>
                  <a:pt x="13381" y="6728"/>
                </a:lnTo>
                <a:lnTo>
                  <a:pt x="13629" y="7420"/>
                </a:lnTo>
                <a:lnTo>
                  <a:pt x="13877" y="8113"/>
                </a:lnTo>
                <a:lnTo>
                  <a:pt x="14125" y="8806"/>
                </a:lnTo>
                <a:lnTo>
                  <a:pt x="14373" y="9498"/>
                </a:lnTo>
                <a:lnTo>
                  <a:pt x="14620" y="10191"/>
                </a:lnTo>
                <a:lnTo>
                  <a:pt x="14868" y="10884"/>
                </a:lnTo>
                <a:lnTo>
                  <a:pt x="15116" y="11577"/>
                </a:lnTo>
                <a:lnTo>
                  <a:pt x="15364" y="12270"/>
                </a:lnTo>
                <a:lnTo>
                  <a:pt x="15364" y="11652"/>
                </a:lnTo>
                <a:lnTo>
                  <a:pt x="15364" y="11034"/>
                </a:lnTo>
                <a:lnTo>
                  <a:pt x="15364" y="10416"/>
                </a:lnTo>
                <a:lnTo>
                  <a:pt x="15364" y="9798"/>
                </a:lnTo>
                <a:lnTo>
                  <a:pt x="15066" y="8964"/>
                </a:lnTo>
                <a:lnTo>
                  <a:pt x="14768" y="8131"/>
                </a:lnTo>
                <a:lnTo>
                  <a:pt x="14470" y="7297"/>
                </a:lnTo>
                <a:lnTo>
                  <a:pt x="14172" y="6465"/>
                </a:lnTo>
                <a:lnTo>
                  <a:pt x="14172" y="5690"/>
                </a:lnTo>
                <a:lnTo>
                  <a:pt x="14172" y="4915"/>
                </a:lnTo>
                <a:lnTo>
                  <a:pt x="14172" y="4139"/>
                </a:lnTo>
                <a:lnTo>
                  <a:pt x="14172" y="3364"/>
                </a:lnTo>
                <a:lnTo>
                  <a:pt x="14172" y="2589"/>
                </a:lnTo>
                <a:lnTo>
                  <a:pt x="14172" y="1814"/>
                </a:lnTo>
                <a:lnTo>
                  <a:pt x="14172" y="1039"/>
                </a:lnTo>
                <a:lnTo>
                  <a:pt x="14172" y="263"/>
                </a:lnTo>
                <a:lnTo>
                  <a:pt x="14470" y="1095"/>
                </a:lnTo>
                <a:lnTo>
                  <a:pt x="14768" y="1929"/>
                </a:lnTo>
                <a:lnTo>
                  <a:pt x="15066" y="2763"/>
                </a:lnTo>
                <a:lnTo>
                  <a:pt x="15364" y="3596"/>
                </a:lnTo>
                <a:close/>
                <a:moveTo>
                  <a:pt x="5023" y="12667"/>
                </a:moveTo>
                <a:lnTo>
                  <a:pt x="4745" y="11891"/>
                </a:lnTo>
                <a:lnTo>
                  <a:pt x="4468" y="11116"/>
                </a:lnTo>
                <a:lnTo>
                  <a:pt x="4190" y="10341"/>
                </a:lnTo>
                <a:lnTo>
                  <a:pt x="3913" y="9566"/>
                </a:lnTo>
                <a:lnTo>
                  <a:pt x="3635" y="8791"/>
                </a:lnTo>
                <a:lnTo>
                  <a:pt x="3358" y="8015"/>
                </a:lnTo>
                <a:lnTo>
                  <a:pt x="3081" y="7240"/>
                </a:lnTo>
                <a:lnTo>
                  <a:pt x="2804" y="6465"/>
                </a:lnTo>
                <a:lnTo>
                  <a:pt x="2804" y="5690"/>
                </a:lnTo>
                <a:lnTo>
                  <a:pt x="2804" y="4915"/>
                </a:lnTo>
                <a:lnTo>
                  <a:pt x="2804" y="4139"/>
                </a:lnTo>
                <a:lnTo>
                  <a:pt x="2804" y="3364"/>
                </a:lnTo>
                <a:lnTo>
                  <a:pt x="2804" y="2589"/>
                </a:lnTo>
                <a:lnTo>
                  <a:pt x="2804" y="1814"/>
                </a:lnTo>
                <a:lnTo>
                  <a:pt x="2804" y="1039"/>
                </a:lnTo>
                <a:lnTo>
                  <a:pt x="2804" y="263"/>
                </a:lnTo>
                <a:lnTo>
                  <a:pt x="3081" y="1039"/>
                </a:lnTo>
                <a:lnTo>
                  <a:pt x="3358" y="1814"/>
                </a:lnTo>
                <a:lnTo>
                  <a:pt x="3635" y="2589"/>
                </a:lnTo>
                <a:lnTo>
                  <a:pt x="3913" y="3364"/>
                </a:lnTo>
                <a:lnTo>
                  <a:pt x="4190" y="4139"/>
                </a:lnTo>
                <a:lnTo>
                  <a:pt x="4468" y="4915"/>
                </a:lnTo>
                <a:lnTo>
                  <a:pt x="4745" y="5690"/>
                </a:lnTo>
                <a:lnTo>
                  <a:pt x="5023" y="6465"/>
                </a:lnTo>
                <a:lnTo>
                  <a:pt x="5023" y="7240"/>
                </a:lnTo>
                <a:lnTo>
                  <a:pt x="5023" y="8015"/>
                </a:lnTo>
                <a:lnTo>
                  <a:pt x="5023" y="8791"/>
                </a:lnTo>
                <a:lnTo>
                  <a:pt x="5023" y="9566"/>
                </a:lnTo>
                <a:lnTo>
                  <a:pt x="5023" y="10341"/>
                </a:lnTo>
                <a:lnTo>
                  <a:pt x="5023" y="11116"/>
                </a:lnTo>
                <a:lnTo>
                  <a:pt x="5023" y="11891"/>
                </a:lnTo>
                <a:lnTo>
                  <a:pt x="5023" y="12667"/>
                </a:lnTo>
                <a:close/>
                <a:moveTo>
                  <a:pt x="8812" y="6465"/>
                </a:moveTo>
                <a:lnTo>
                  <a:pt x="8812" y="7240"/>
                </a:lnTo>
                <a:lnTo>
                  <a:pt x="8812" y="8015"/>
                </a:lnTo>
                <a:lnTo>
                  <a:pt x="8812" y="8791"/>
                </a:lnTo>
                <a:lnTo>
                  <a:pt x="8812" y="9566"/>
                </a:lnTo>
                <a:lnTo>
                  <a:pt x="8812" y="10341"/>
                </a:lnTo>
                <a:lnTo>
                  <a:pt x="8812" y="11116"/>
                </a:lnTo>
                <a:lnTo>
                  <a:pt x="8812" y="11891"/>
                </a:lnTo>
                <a:lnTo>
                  <a:pt x="8812" y="12667"/>
                </a:lnTo>
                <a:lnTo>
                  <a:pt x="8534" y="11891"/>
                </a:lnTo>
                <a:lnTo>
                  <a:pt x="8257" y="11116"/>
                </a:lnTo>
                <a:lnTo>
                  <a:pt x="7979" y="10341"/>
                </a:lnTo>
                <a:lnTo>
                  <a:pt x="7702" y="9566"/>
                </a:lnTo>
                <a:lnTo>
                  <a:pt x="7424" y="8791"/>
                </a:lnTo>
                <a:lnTo>
                  <a:pt x="7147" y="8015"/>
                </a:lnTo>
                <a:lnTo>
                  <a:pt x="6870" y="7240"/>
                </a:lnTo>
                <a:lnTo>
                  <a:pt x="6593" y="6465"/>
                </a:lnTo>
                <a:lnTo>
                  <a:pt x="6593" y="5690"/>
                </a:lnTo>
                <a:lnTo>
                  <a:pt x="6593" y="4915"/>
                </a:lnTo>
                <a:lnTo>
                  <a:pt x="6593" y="4139"/>
                </a:lnTo>
                <a:lnTo>
                  <a:pt x="6593" y="3364"/>
                </a:lnTo>
                <a:lnTo>
                  <a:pt x="6593" y="2589"/>
                </a:lnTo>
                <a:lnTo>
                  <a:pt x="6593" y="1814"/>
                </a:lnTo>
                <a:lnTo>
                  <a:pt x="6593" y="1039"/>
                </a:lnTo>
                <a:lnTo>
                  <a:pt x="6593" y="263"/>
                </a:lnTo>
                <a:lnTo>
                  <a:pt x="6870" y="1039"/>
                </a:lnTo>
                <a:lnTo>
                  <a:pt x="7147" y="1814"/>
                </a:lnTo>
                <a:lnTo>
                  <a:pt x="7424" y="2589"/>
                </a:lnTo>
                <a:lnTo>
                  <a:pt x="7702" y="3364"/>
                </a:lnTo>
                <a:lnTo>
                  <a:pt x="7979" y="4139"/>
                </a:lnTo>
                <a:lnTo>
                  <a:pt x="8257" y="4915"/>
                </a:lnTo>
                <a:lnTo>
                  <a:pt x="8534" y="5690"/>
                </a:lnTo>
                <a:lnTo>
                  <a:pt x="8812" y="6465"/>
                </a:lnTo>
                <a:close/>
                <a:moveTo>
                  <a:pt x="12601" y="12667"/>
                </a:moveTo>
                <a:lnTo>
                  <a:pt x="12323" y="11891"/>
                </a:lnTo>
                <a:lnTo>
                  <a:pt x="12046" y="11116"/>
                </a:lnTo>
                <a:lnTo>
                  <a:pt x="11769" y="10341"/>
                </a:lnTo>
                <a:lnTo>
                  <a:pt x="11492" y="9566"/>
                </a:lnTo>
                <a:lnTo>
                  <a:pt x="11214" y="8791"/>
                </a:lnTo>
                <a:lnTo>
                  <a:pt x="10937" y="8015"/>
                </a:lnTo>
                <a:lnTo>
                  <a:pt x="10660" y="7240"/>
                </a:lnTo>
                <a:lnTo>
                  <a:pt x="10383" y="6465"/>
                </a:lnTo>
                <a:lnTo>
                  <a:pt x="10383" y="5690"/>
                </a:lnTo>
                <a:lnTo>
                  <a:pt x="10383" y="4915"/>
                </a:lnTo>
                <a:lnTo>
                  <a:pt x="10383" y="4139"/>
                </a:lnTo>
                <a:lnTo>
                  <a:pt x="10383" y="3364"/>
                </a:lnTo>
                <a:lnTo>
                  <a:pt x="10383" y="2589"/>
                </a:lnTo>
                <a:lnTo>
                  <a:pt x="10383" y="1814"/>
                </a:lnTo>
                <a:lnTo>
                  <a:pt x="10383" y="1039"/>
                </a:lnTo>
                <a:lnTo>
                  <a:pt x="10383" y="263"/>
                </a:lnTo>
                <a:lnTo>
                  <a:pt x="10660" y="1039"/>
                </a:lnTo>
                <a:lnTo>
                  <a:pt x="10937" y="1814"/>
                </a:lnTo>
                <a:lnTo>
                  <a:pt x="11214" y="2589"/>
                </a:lnTo>
                <a:lnTo>
                  <a:pt x="11492" y="3364"/>
                </a:lnTo>
                <a:lnTo>
                  <a:pt x="11769" y="4139"/>
                </a:lnTo>
                <a:lnTo>
                  <a:pt x="12046" y="4915"/>
                </a:lnTo>
                <a:lnTo>
                  <a:pt x="12323" y="5690"/>
                </a:lnTo>
                <a:lnTo>
                  <a:pt x="12601" y="6465"/>
                </a:lnTo>
                <a:lnTo>
                  <a:pt x="12601" y="7240"/>
                </a:lnTo>
                <a:lnTo>
                  <a:pt x="12601" y="8015"/>
                </a:lnTo>
                <a:lnTo>
                  <a:pt x="12601" y="8791"/>
                </a:lnTo>
                <a:lnTo>
                  <a:pt x="12601" y="9566"/>
                </a:lnTo>
                <a:lnTo>
                  <a:pt x="12601" y="10341"/>
                </a:lnTo>
                <a:lnTo>
                  <a:pt x="12601" y="11116"/>
                </a:lnTo>
                <a:lnTo>
                  <a:pt x="12601" y="11891"/>
                </a:lnTo>
                <a:lnTo>
                  <a:pt x="12601" y="12667"/>
                </a:lnTo>
                <a:close/>
              </a:path>
            </a:pathLst>
          </a:custGeom>
          <a:solidFill>
            <a:srgbClr val="FAD4BB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5D1EB70-B93B-9342-A1C2-68CACFD79FBE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CAF9D34A-E3A0-E6B5-72D8-1DB8AE865D2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5ABC29-5648-D4B1-7B21-254385A65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828" y="3023317"/>
            <a:ext cx="11086866" cy="811367"/>
          </a:xfrm>
          <a:noFill/>
        </p:spPr>
        <p:txBody>
          <a:bodyPr wrap="square" lIns="36000" tIns="36000" rIns="36000" bIns="36000" anchor="ctr" anchorCtr="0">
            <a:spAutoFit/>
          </a:bodyPr>
          <a:lstStyle>
            <a:lvl1pPr>
              <a:lnSpc>
                <a:spcPct val="100000"/>
              </a:lnSpc>
              <a:defRPr sz="4799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76981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duction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5">
            <a:extLst>
              <a:ext uri="{FF2B5EF4-FFF2-40B4-BE49-F238E27FC236}">
                <a16:creationId xmlns:a16="http://schemas.microsoft.com/office/drawing/2014/main" id="{7ACDF1BB-42E0-409D-9038-7C5AF36C2E5E}"/>
              </a:ext>
            </a:extLst>
          </p:cNvPr>
          <p:cNvSpPr>
            <a:spLocks noEditPoints="1"/>
          </p:cNvSpPr>
          <p:nvPr/>
        </p:nvSpPr>
        <p:spPr bwMode="auto">
          <a:xfrm>
            <a:off x="0" y="7938"/>
            <a:ext cx="12192000" cy="6842125"/>
          </a:xfrm>
          <a:custGeom>
            <a:avLst/>
            <a:gdLst>
              <a:gd name="T0" fmla="*/ 14676 w 15364"/>
              <a:gd name="T1" fmla="*/ 6214 h 12930"/>
              <a:gd name="T2" fmla="*/ 14054 w 15364"/>
              <a:gd name="T3" fmla="*/ 2330 h 12930"/>
              <a:gd name="T4" fmla="*/ 12158 w 15364"/>
              <a:gd name="T5" fmla="*/ 0 h 12930"/>
              <a:gd name="T6" fmla="*/ 11544 w 15364"/>
              <a:gd name="T7" fmla="*/ 3883 h 12930"/>
              <a:gd name="T8" fmla="*/ 10927 w 15364"/>
              <a:gd name="T9" fmla="*/ 4660 h 12930"/>
              <a:gd name="T10" fmla="*/ 10307 w 15364"/>
              <a:gd name="T11" fmla="*/ 777 h 12930"/>
              <a:gd name="T12" fmla="*/ 8413 w 15364"/>
              <a:gd name="T13" fmla="*/ 1553 h 12930"/>
              <a:gd name="T14" fmla="*/ 7799 w 15364"/>
              <a:gd name="T15" fmla="*/ 5437 h 12930"/>
              <a:gd name="T16" fmla="*/ 7180 w 15364"/>
              <a:gd name="T17" fmla="*/ 3107 h 12930"/>
              <a:gd name="T18" fmla="*/ 5921 w 15364"/>
              <a:gd name="T19" fmla="*/ 0 h 12930"/>
              <a:gd name="T20" fmla="*/ 4668 w 15364"/>
              <a:gd name="T21" fmla="*/ 3107 h 12930"/>
              <a:gd name="T22" fmla="*/ 4053 w 15364"/>
              <a:gd name="T23" fmla="*/ 5437 h 12930"/>
              <a:gd name="T24" fmla="*/ 3431 w 15364"/>
              <a:gd name="T25" fmla="*/ 1553 h 12930"/>
              <a:gd name="T26" fmla="*/ 1537 w 15364"/>
              <a:gd name="T27" fmla="*/ 777 h 12930"/>
              <a:gd name="T28" fmla="*/ 923 w 15364"/>
              <a:gd name="T29" fmla="*/ 4660 h 12930"/>
              <a:gd name="T30" fmla="*/ 169 w 15364"/>
              <a:gd name="T31" fmla="*/ 3035 h 12930"/>
              <a:gd name="T32" fmla="*/ 0 w 15364"/>
              <a:gd name="T33" fmla="*/ 6490 h 12930"/>
              <a:gd name="T34" fmla="*/ 169 w 15364"/>
              <a:gd name="T35" fmla="*/ 9934 h 12930"/>
              <a:gd name="T36" fmla="*/ 926 w 15364"/>
              <a:gd name="T37" fmla="*/ 8270 h 12930"/>
              <a:gd name="T38" fmla="*/ 1547 w 15364"/>
              <a:gd name="T39" fmla="*/ 12153 h 12930"/>
              <a:gd name="T40" fmla="*/ 3441 w 15364"/>
              <a:gd name="T41" fmla="*/ 11377 h 12930"/>
              <a:gd name="T42" fmla="*/ 4054 w 15364"/>
              <a:gd name="T43" fmla="*/ 7493 h 12930"/>
              <a:gd name="T44" fmla="*/ 4674 w 15364"/>
              <a:gd name="T45" fmla="*/ 9823 h 12930"/>
              <a:gd name="T46" fmla="*/ 5933 w 15364"/>
              <a:gd name="T47" fmla="*/ 12930 h 12930"/>
              <a:gd name="T48" fmla="*/ 7186 w 15364"/>
              <a:gd name="T49" fmla="*/ 9823 h 12930"/>
              <a:gd name="T50" fmla="*/ 7801 w 15364"/>
              <a:gd name="T51" fmla="*/ 7493 h 12930"/>
              <a:gd name="T52" fmla="*/ 8422 w 15364"/>
              <a:gd name="T53" fmla="*/ 11377 h 12930"/>
              <a:gd name="T54" fmla="*/ 10316 w 15364"/>
              <a:gd name="T55" fmla="*/ 12153 h 12930"/>
              <a:gd name="T56" fmla="*/ 10930 w 15364"/>
              <a:gd name="T57" fmla="*/ 8270 h 12930"/>
              <a:gd name="T58" fmla="*/ 11548 w 15364"/>
              <a:gd name="T59" fmla="*/ 9047 h 12930"/>
              <a:gd name="T60" fmla="*/ 12170 w 15364"/>
              <a:gd name="T61" fmla="*/ 12930 h 12930"/>
              <a:gd name="T62" fmla="*/ 14062 w 15364"/>
              <a:gd name="T63" fmla="*/ 10600 h 12930"/>
              <a:gd name="T64" fmla="*/ 14676 w 15364"/>
              <a:gd name="T65" fmla="*/ 6716 h 12930"/>
              <a:gd name="T66" fmla="*/ 15364 w 15364"/>
              <a:gd name="T67" fmla="*/ 9873 h 12930"/>
              <a:gd name="T68" fmla="*/ 15364 w 15364"/>
              <a:gd name="T69" fmla="*/ 4148 h 12930"/>
              <a:gd name="T70" fmla="*/ 2185 w 15364"/>
              <a:gd name="T71" fmla="*/ 11125 h 12930"/>
              <a:gd name="T72" fmla="*/ 1563 w 15364"/>
              <a:gd name="T73" fmla="*/ 7242 h 12930"/>
              <a:gd name="T74" fmla="*/ 1931 w 15364"/>
              <a:gd name="T75" fmla="*/ 3358 h 12930"/>
              <a:gd name="T76" fmla="*/ 2546 w 15364"/>
              <a:gd name="T77" fmla="*/ 1028 h 12930"/>
              <a:gd name="T78" fmla="*/ 3167 w 15364"/>
              <a:gd name="T79" fmla="*/ 4912 h 12930"/>
              <a:gd name="T80" fmla="*/ 3047 w 15364"/>
              <a:gd name="T81" fmla="*/ 8795 h 12930"/>
              <a:gd name="T82" fmla="*/ 2434 w 15364"/>
              <a:gd name="T83" fmla="*/ 12679 h 12930"/>
              <a:gd name="T84" fmla="*/ 5436 w 15364"/>
              <a:gd name="T85" fmla="*/ 9572 h 12930"/>
              <a:gd name="T86" fmla="*/ 5061 w 15364"/>
              <a:gd name="T87" fmla="*/ 5688 h 12930"/>
              <a:gd name="T88" fmla="*/ 5674 w 15364"/>
              <a:gd name="T89" fmla="*/ 1805 h 12930"/>
              <a:gd name="T90" fmla="*/ 6293 w 15364"/>
              <a:gd name="T91" fmla="*/ 2582 h 12930"/>
              <a:gd name="T92" fmla="*/ 6916 w 15364"/>
              <a:gd name="T93" fmla="*/ 6465 h 12930"/>
              <a:gd name="T94" fmla="*/ 6302 w 15364"/>
              <a:gd name="T95" fmla="*/ 10348 h 12930"/>
              <a:gd name="T96" fmla="*/ 9307 w 15364"/>
              <a:gd name="T97" fmla="*/ 11902 h 12930"/>
              <a:gd name="T98" fmla="*/ 8686 w 15364"/>
              <a:gd name="T99" fmla="*/ 8018 h 12930"/>
              <a:gd name="T100" fmla="*/ 8806 w 15364"/>
              <a:gd name="T101" fmla="*/ 4135 h 12930"/>
              <a:gd name="T102" fmla="*/ 9420 w 15364"/>
              <a:gd name="T103" fmla="*/ 251 h 12930"/>
              <a:gd name="T104" fmla="*/ 10042 w 15364"/>
              <a:gd name="T105" fmla="*/ 4135 h 12930"/>
              <a:gd name="T106" fmla="*/ 10169 w 15364"/>
              <a:gd name="T107" fmla="*/ 8018 h 12930"/>
              <a:gd name="T108" fmla="*/ 9554 w 15364"/>
              <a:gd name="T109" fmla="*/ 11902 h 12930"/>
              <a:gd name="T110" fmla="*/ 12559 w 15364"/>
              <a:gd name="T111" fmla="*/ 10348 h 12930"/>
              <a:gd name="T112" fmla="*/ 11938 w 15364"/>
              <a:gd name="T113" fmla="*/ 6465 h 12930"/>
              <a:gd name="T114" fmla="*/ 12551 w 15364"/>
              <a:gd name="T115" fmla="*/ 2582 h 12930"/>
              <a:gd name="T116" fmla="*/ 13168 w 15364"/>
              <a:gd name="T117" fmla="*/ 1805 h 12930"/>
              <a:gd name="T118" fmla="*/ 13789 w 15364"/>
              <a:gd name="T119" fmla="*/ 5688 h 12930"/>
              <a:gd name="T120" fmla="*/ 13422 w 15364"/>
              <a:gd name="T121" fmla="*/ 9572 h 12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64" h="12930">
                <a:moveTo>
                  <a:pt x="15364" y="1859"/>
                </a:moveTo>
                <a:lnTo>
                  <a:pt x="15192" y="2947"/>
                </a:lnTo>
                <a:lnTo>
                  <a:pt x="15020" y="4036"/>
                </a:lnTo>
                <a:lnTo>
                  <a:pt x="14848" y="5124"/>
                </a:lnTo>
                <a:lnTo>
                  <a:pt x="14676" y="6214"/>
                </a:lnTo>
                <a:lnTo>
                  <a:pt x="14551" y="5437"/>
                </a:lnTo>
                <a:lnTo>
                  <a:pt x="14427" y="4660"/>
                </a:lnTo>
                <a:lnTo>
                  <a:pt x="14303" y="3883"/>
                </a:lnTo>
                <a:lnTo>
                  <a:pt x="14179" y="3107"/>
                </a:lnTo>
                <a:lnTo>
                  <a:pt x="14054" y="2330"/>
                </a:lnTo>
                <a:lnTo>
                  <a:pt x="13930" y="1553"/>
                </a:lnTo>
                <a:lnTo>
                  <a:pt x="13806" y="777"/>
                </a:lnTo>
                <a:lnTo>
                  <a:pt x="13682" y="0"/>
                </a:lnTo>
                <a:lnTo>
                  <a:pt x="12919" y="0"/>
                </a:lnTo>
                <a:lnTo>
                  <a:pt x="12158" y="0"/>
                </a:lnTo>
                <a:lnTo>
                  <a:pt x="12035" y="777"/>
                </a:lnTo>
                <a:lnTo>
                  <a:pt x="11912" y="1553"/>
                </a:lnTo>
                <a:lnTo>
                  <a:pt x="11789" y="2330"/>
                </a:lnTo>
                <a:lnTo>
                  <a:pt x="11667" y="3107"/>
                </a:lnTo>
                <a:lnTo>
                  <a:pt x="11544" y="3883"/>
                </a:lnTo>
                <a:lnTo>
                  <a:pt x="11421" y="4660"/>
                </a:lnTo>
                <a:lnTo>
                  <a:pt x="11298" y="5437"/>
                </a:lnTo>
                <a:lnTo>
                  <a:pt x="11176" y="6214"/>
                </a:lnTo>
                <a:lnTo>
                  <a:pt x="11051" y="5437"/>
                </a:lnTo>
                <a:lnTo>
                  <a:pt x="10927" y="4660"/>
                </a:lnTo>
                <a:lnTo>
                  <a:pt x="10803" y="3883"/>
                </a:lnTo>
                <a:lnTo>
                  <a:pt x="10679" y="3107"/>
                </a:lnTo>
                <a:lnTo>
                  <a:pt x="10555" y="2330"/>
                </a:lnTo>
                <a:lnTo>
                  <a:pt x="10431" y="1553"/>
                </a:lnTo>
                <a:lnTo>
                  <a:pt x="10307" y="777"/>
                </a:lnTo>
                <a:lnTo>
                  <a:pt x="10183" y="0"/>
                </a:lnTo>
                <a:lnTo>
                  <a:pt x="9420" y="0"/>
                </a:lnTo>
                <a:lnTo>
                  <a:pt x="8659" y="0"/>
                </a:lnTo>
                <a:lnTo>
                  <a:pt x="8536" y="777"/>
                </a:lnTo>
                <a:lnTo>
                  <a:pt x="8413" y="1553"/>
                </a:lnTo>
                <a:lnTo>
                  <a:pt x="8290" y="2330"/>
                </a:lnTo>
                <a:lnTo>
                  <a:pt x="8168" y="3107"/>
                </a:lnTo>
                <a:lnTo>
                  <a:pt x="8045" y="3883"/>
                </a:lnTo>
                <a:lnTo>
                  <a:pt x="7922" y="4660"/>
                </a:lnTo>
                <a:lnTo>
                  <a:pt x="7799" y="5437"/>
                </a:lnTo>
                <a:lnTo>
                  <a:pt x="7677" y="6214"/>
                </a:lnTo>
                <a:lnTo>
                  <a:pt x="7552" y="5437"/>
                </a:lnTo>
                <a:lnTo>
                  <a:pt x="7428" y="4660"/>
                </a:lnTo>
                <a:lnTo>
                  <a:pt x="7304" y="3883"/>
                </a:lnTo>
                <a:lnTo>
                  <a:pt x="7180" y="3107"/>
                </a:lnTo>
                <a:lnTo>
                  <a:pt x="7055" y="2330"/>
                </a:lnTo>
                <a:lnTo>
                  <a:pt x="6931" y="1553"/>
                </a:lnTo>
                <a:lnTo>
                  <a:pt x="6807" y="777"/>
                </a:lnTo>
                <a:lnTo>
                  <a:pt x="6683" y="0"/>
                </a:lnTo>
                <a:lnTo>
                  <a:pt x="5921" y="0"/>
                </a:lnTo>
                <a:lnTo>
                  <a:pt x="5159" y="0"/>
                </a:lnTo>
                <a:lnTo>
                  <a:pt x="5036" y="777"/>
                </a:lnTo>
                <a:lnTo>
                  <a:pt x="4913" y="1553"/>
                </a:lnTo>
                <a:lnTo>
                  <a:pt x="4790" y="2330"/>
                </a:lnTo>
                <a:lnTo>
                  <a:pt x="4668" y="3107"/>
                </a:lnTo>
                <a:lnTo>
                  <a:pt x="4545" y="3883"/>
                </a:lnTo>
                <a:lnTo>
                  <a:pt x="4423" y="4660"/>
                </a:lnTo>
                <a:lnTo>
                  <a:pt x="4300" y="5437"/>
                </a:lnTo>
                <a:lnTo>
                  <a:pt x="4178" y="6214"/>
                </a:lnTo>
                <a:lnTo>
                  <a:pt x="4053" y="5437"/>
                </a:lnTo>
                <a:lnTo>
                  <a:pt x="3929" y="4660"/>
                </a:lnTo>
                <a:lnTo>
                  <a:pt x="3804" y="3883"/>
                </a:lnTo>
                <a:lnTo>
                  <a:pt x="3680" y="3107"/>
                </a:lnTo>
                <a:lnTo>
                  <a:pt x="3555" y="2330"/>
                </a:lnTo>
                <a:lnTo>
                  <a:pt x="3431" y="1553"/>
                </a:lnTo>
                <a:lnTo>
                  <a:pt x="3307" y="777"/>
                </a:lnTo>
                <a:lnTo>
                  <a:pt x="3183" y="0"/>
                </a:lnTo>
                <a:lnTo>
                  <a:pt x="2422" y="0"/>
                </a:lnTo>
                <a:lnTo>
                  <a:pt x="1660" y="0"/>
                </a:lnTo>
                <a:lnTo>
                  <a:pt x="1537" y="777"/>
                </a:lnTo>
                <a:lnTo>
                  <a:pt x="1414" y="1553"/>
                </a:lnTo>
                <a:lnTo>
                  <a:pt x="1291" y="2330"/>
                </a:lnTo>
                <a:lnTo>
                  <a:pt x="1169" y="3107"/>
                </a:lnTo>
                <a:lnTo>
                  <a:pt x="1046" y="3883"/>
                </a:lnTo>
                <a:lnTo>
                  <a:pt x="923" y="4660"/>
                </a:lnTo>
                <a:lnTo>
                  <a:pt x="800" y="5437"/>
                </a:lnTo>
                <a:lnTo>
                  <a:pt x="678" y="6214"/>
                </a:lnTo>
                <a:lnTo>
                  <a:pt x="508" y="5154"/>
                </a:lnTo>
                <a:lnTo>
                  <a:pt x="339" y="4095"/>
                </a:lnTo>
                <a:lnTo>
                  <a:pt x="169" y="3035"/>
                </a:lnTo>
                <a:lnTo>
                  <a:pt x="0" y="1975"/>
                </a:lnTo>
                <a:lnTo>
                  <a:pt x="0" y="3104"/>
                </a:lnTo>
                <a:lnTo>
                  <a:pt x="0" y="4232"/>
                </a:lnTo>
                <a:lnTo>
                  <a:pt x="0" y="5361"/>
                </a:lnTo>
                <a:lnTo>
                  <a:pt x="0" y="6490"/>
                </a:lnTo>
                <a:lnTo>
                  <a:pt x="0" y="7619"/>
                </a:lnTo>
                <a:lnTo>
                  <a:pt x="0" y="8749"/>
                </a:lnTo>
                <a:lnTo>
                  <a:pt x="0" y="9877"/>
                </a:lnTo>
                <a:lnTo>
                  <a:pt x="0" y="11007"/>
                </a:lnTo>
                <a:lnTo>
                  <a:pt x="169" y="9934"/>
                </a:lnTo>
                <a:lnTo>
                  <a:pt x="339" y="8861"/>
                </a:lnTo>
                <a:lnTo>
                  <a:pt x="508" y="7788"/>
                </a:lnTo>
                <a:lnTo>
                  <a:pt x="678" y="6716"/>
                </a:lnTo>
                <a:lnTo>
                  <a:pt x="802" y="7493"/>
                </a:lnTo>
                <a:lnTo>
                  <a:pt x="926" y="8270"/>
                </a:lnTo>
                <a:lnTo>
                  <a:pt x="1050" y="9047"/>
                </a:lnTo>
                <a:lnTo>
                  <a:pt x="1175" y="9823"/>
                </a:lnTo>
                <a:lnTo>
                  <a:pt x="1299" y="10600"/>
                </a:lnTo>
                <a:lnTo>
                  <a:pt x="1423" y="11377"/>
                </a:lnTo>
                <a:lnTo>
                  <a:pt x="1547" y="12153"/>
                </a:lnTo>
                <a:lnTo>
                  <a:pt x="1672" y="12930"/>
                </a:lnTo>
                <a:lnTo>
                  <a:pt x="2434" y="12930"/>
                </a:lnTo>
                <a:lnTo>
                  <a:pt x="3196" y="12930"/>
                </a:lnTo>
                <a:lnTo>
                  <a:pt x="3318" y="12153"/>
                </a:lnTo>
                <a:lnTo>
                  <a:pt x="3441" y="11377"/>
                </a:lnTo>
                <a:lnTo>
                  <a:pt x="3563" y="10600"/>
                </a:lnTo>
                <a:lnTo>
                  <a:pt x="3686" y="9823"/>
                </a:lnTo>
                <a:lnTo>
                  <a:pt x="3808" y="9047"/>
                </a:lnTo>
                <a:lnTo>
                  <a:pt x="3931" y="8270"/>
                </a:lnTo>
                <a:lnTo>
                  <a:pt x="4054" y="7493"/>
                </a:lnTo>
                <a:lnTo>
                  <a:pt x="4177" y="6716"/>
                </a:lnTo>
                <a:lnTo>
                  <a:pt x="4301" y="7493"/>
                </a:lnTo>
                <a:lnTo>
                  <a:pt x="4425" y="8270"/>
                </a:lnTo>
                <a:lnTo>
                  <a:pt x="4549" y="9047"/>
                </a:lnTo>
                <a:lnTo>
                  <a:pt x="4674" y="9823"/>
                </a:lnTo>
                <a:lnTo>
                  <a:pt x="4798" y="10600"/>
                </a:lnTo>
                <a:lnTo>
                  <a:pt x="4922" y="11377"/>
                </a:lnTo>
                <a:lnTo>
                  <a:pt x="5046" y="12153"/>
                </a:lnTo>
                <a:lnTo>
                  <a:pt x="5171" y="12930"/>
                </a:lnTo>
                <a:lnTo>
                  <a:pt x="5933" y="12930"/>
                </a:lnTo>
                <a:lnTo>
                  <a:pt x="6695" y="12930"/>
                </a:lnTo>
                <a:lnTo>
                  <a:pt x="6817" y="12153"/>
                </a:lnTo>
                <a:lnTo>
                  <a:pt x="6940" y="11377"/>
                </a:lnTo>
                <a:lnTo>
                  <a:pt x="7063" y="10600"/>
                </a:lnTo>
                <a:lnTo>
                  <a:pt x="7186" y="9823"/>
                </a:lnTo>
                <a:lnTo>
                  <a:pt x="7308" y="9047"/>
                </a:lnTo>
                <a:lnTo>
                  <a:pt x="7431" y="8270"/>
                </a:lnTo>
                <a:lnTo>
                  <a:pt x="7554" y="7493"/>
                </a:lnTo>
                <a:lnTo>
                  <a:pt x="7677" y="6716"/>
                </a:lnTo>
                <a:lnTo>
                  <a:pt x="7801" y="7493"/>
                </a:lnTo>
                <a:lnTo>
                  <a:pt x="7925" y="8270"/>
                </a:lnTo>
                <a:lnTo>
                  <a:pt x="8049" y="9047"/>
                </a:lnTo>
                <a:lnTo>
                  <a:pt x="8174" y="9823"/>
                </a:lnTo>
                <a:lnTo>
                  <a:pt x="8298" y="10600"/>
                </a:lnTo>
                <a:lnTo>
                  <a:pt x="8422" y="11377"/>
                </a:lnTo>
                <a:lnTo>
                  <a:pt x="8546" y="12153"/>
                </a:lnTo>
                <a:lnTo>
                  <a:pt x="8671" y="12930"/>
                </a:lnTo>
                <a:lnTo>
                  <a:pt x="9432" y="12930"/>
                </a:lnTo>
                <a:lnTo>
                  <a:pt x="10194" y="12930"/>
                </a:lnTo>
                <a:lnTo>
                  <a:pt x="10316" y="12153"/>
                </a:lnTo>
                <a:lnTo>
                  <a:pt x="10439" y="11377"/>
                </a:lnTo>
                <a:lnTo>
                  <a:pt x="10562" y="10600"/>
                </a:lnTo>
                <a:lnTo>
                  <a:pt x="10685" y="9823"/>
                </a:lnTo>
                <a:lnTo>
                  <a:pt x="10807" y="9047"/>
                </a:lnTo>
                <a:lnTo>
                  <a:pt x="10930" y="8270"/>
                </a:lnTo>
                <a:lnTo>
                  <a:pt x="11053" y="7493"/>
                </a:lnTo>
                <a:lnTo>
                  <a:pt x="11176" y="6716"/>
                </a:lnTo>
                <a:lnTo>
                  <a:pt x="11300" y="7493"/>
                </a:lnTo>
                <a:lnTo>
                  <a:pt x="11424" y="8270"/>
                </a:lnTo>
                <a:lnTo>
                  <a:pt x="11548" y="9047"/>
                </a:lnTo>
                <a:lnTo>
                  <a:pt x="11673" y="9823"/>
                </a:lnTo>
                <a:lnTo>
                  <a:pt x="11797" y="10600"/>
                </a:lnTo>
                <a:lnTo>
                  <a:pt x="11921" y="11377"/>
                </a:lnTo>
                <a:lnTo>
                  <a:pt x="12045" y="12153"/>
                </a:lnTo>
                <a:lnTo>
                  <a:pt x="12170" y="12930"/>
                </a:lnTo>
                <a:lnTo>
                  <a:pt x="12931" y="12930"/>
                </a:lnTo>
                <a:lnTo>
                  <a:pt x="13694" y="12930"/>
                </a:lnTo>
                <a:lnTo>
                  <a:pt x="13816" y="12153"/>
                </a:lnTo>
                <a:lnTo>
                  <a:pt x="13939" y="11377"/>
                </a:lnTo>
                <a:lnTo>
                  <a:pt x="14062" y="10600"/>
                </a:lnTo>
                <a:lnTo>
                  <a:pt x="14185" y="9823"/>
                </a:lnTo>
                <a:lnTo>
                  <a:pt x="14307" y="9047"/>
                </a:lnTo>
                <a:lnTo>
                  <a:pt x="14430" y="8270"/>
                </a:lnTo>
                <a:lnTo>
                  <a:pt x="14553" y="7493"/>
                </a:lnTo>
                <a:lnTo>
                  <a:pt x="14676" y="6716"/>
                </a:lnTo>
                <a:lnTo>
                  <a:pt x="14848" y="7791"/>
                </a:lnTo>
                <a:lnTo>
                  <a:pt x="15020" y="8867"/>
                </a:lnTo>
                <a:lnTo>
                  <a:pt x="15192" y="9943"/>
                </a:lnTo>
                <a:lnTo>
                  <a:pt x="15364" y="11019"/>
                </a:lnTo>
                <a:lnTo>
                  <a:pt x="15364" y="9873"/>
                </a:lnTo>
                <a:lnTo>
                  <a:pt x="15364" y="8728"/>
                </a:lnTo>
                <a:lnTo>
                  <a:pt x="15364" y="7583"/>
                </a:lnTo>
                <a:lnTo>
                  <a:pt x="15364" y="6438"/>
                </a:lnTo>
                <a:lnTo>
                  <a:pt x="15364" y="5293"/>
                </a:lnTo>
                <a:lnTo>
                  <a:pt x="15364" y="4148"/>
                </a:lnTo>
                <a:lnTo>
                  <a:pt x="15364" y="3004"/>
                </a:lnTo>
                <a:lnTo>
                  <a:pt x="15364" y="1859"/>
                </a:lnTo>
                <a:close/>
                <a:moveTo>
                  <a:pt x="2434" y="12679"/>
                </a:moveTo>
                <a:lnTo>
                  <a:pt x="2309" y="11902"/>
                </a:lnTo>
                <a:lnTo>
                  <a:pt x="2185" y="11125"/>
                </a:lnTo>
                <a:lnTo>
                  <a:pt x="2061" y="10348"/>
                </a:lnTo>
                <a:lnTo>
                  <a:pt x="1937" y="9572"/>
                </a:lnTo>
                <a:lnTo>
                  <a:pt x="1811" y="8795"/>
                </a:lnTo>
                <a:lnTo>
                  <a:pt x="1687" y="8018"/>
                </a:lnTo>
                <a:lnTo>
                  <a:pt x="1563" y="7242"/>
                </a:lnTo>
                <a:lnTo>
                  <a:pt x="1439" y="6465"/>
                </a:lnTo>
                <a:lnTo>
                  <a:pt x="1561" y="5688"/>
                </a:lnTo>
                <a:lnTo>
                  <a:pt x="1684" y="4912"/>
                </a:lnTo>
                <a:lnTo>
                  <a:pt x="1807" y="4135"/>
                </a:lnTo>
                <a:lnTo>
                  <a:pt x="1931" y="3358"/>
                </a:lnTo>
                <a:lnTo>
                  <a:pt x="2053" y="2582"/>
                </a:lnTo>
                <a:lnTo>
                  <a:pt x="2176" y="1805"/>
                </a:lnTo>
                <a:lnTo>
                  <a:pt x="2299" y="1028"/>
                </a:lnTo>
                <a:lnTo>
                  <a:pt x="2422" y="251"/>
                </a:lnTo>
                <a:lnTo>
                  <a:pt x="2546" y="1028"/>
                </a:lnTo>
                <a:lnTo>
                  <a:pt x="2670" y="1805"/>
                </a:lnTo>
                <a:lnTo>
                  <a:pt x="2794" y="2582"/>
                </a:lnTo>
                <a:lnTo>
                  <a:pt x="2919" y="3358"/>
                </a:lnTo>
                <a:lnTo>
                  <a:pt x="3043" y="4135"/>
                </a:lnTo>
                <a:lnTo>
                  <a:pt x="3167" y="4912"/>
                </a:lnTo>
                <a:lnTo>
                  <a:pt x="3291" y="5688"/>
                </a:lnTo>
                <a:lnTo>
                  <a:pt x="3416" y="6465"/>
                </a:lnTo>
                <a:lnTo>
                  <a:pt x="3293" y="7242"/>
                </a:lnTo>
                <a:lnTo>
                  <a:pt x="3170" y="8018"/>
                </a:lnTo>
                <a:lnTo>
                  <a:pt x="3047" y="8795"/>
                </a:lnTo>
                <a:lnTo>
                  <a:pt x="2925" y="9572"/>
                </a:lnTo>
                <a:lnTo>
                  <a:pt x="2802" y="10348"/>
                </a:lnTo>
                <a:lnTo>
                  <a:pt x="2679" y="11125"/>
                </a:lnTo>
                <a:lnTo>
                  <a:pt x="2556" y="11902"/>
                </a:lnTo>
                <a:lnTo>
                  <a:pt x="2434" y="12679"/>
                </a:lnTo>
                <a:close/>
                <a:moveTo>
                  <a:pt x="5934" y="12679"/>
                </a:moveTo>
                <a:lnTo>
                  <a:pt x="5809" y="11902"/>
                </a:lnTo>
                <a:lnTo>
                  <a:pt x="5684" y="11125"/>
                </a:lnTo>
                <a:lnTo>
                  <a:pt x="5560" y="10348"/>
                </a:lnTo>
                <a:lnTo>
                  <a:pt x="5436" y="9572"/>
                </a:lnTo>
                <a:lnTo>
                  <a:pt x="5311" y="8795"/>
                </a:lnTo>
                <a:lnTo>
                  <a:pt x="5187" y="8018"/>
                </a:lnTo>
                <a:lnTo>
                  <a:pt x="5063" y="7242"/>
                </a:lnTo>
                <a:lnTo>
                  <a:pt x="4939" y="6465"/>
                </a:lnTo>
                <a:lnTo>
                  <a:pt x="5061" y="5688"/>
                </a:lnTo>
                <a:lnTo>
                  <a:pt x="5184" y="4912"/>
                </a:lnTo>
                <a:lnTo>
                  <a:pt x="5306" y="4135"/>
                </a:lnTo>
                <a:lnTo>
                  <a:pt x="5429" y="3358"/>
                </a:lnTo>
                <a:lnTo>
                  <a:pt x="5551" y="2582"/>
                </a:lnTo>
                <a:lnTo>
                  <a:pt x="5674" y="1805"/>
                </a:lnTo>
                <a:lnTo>
                  <a:pt x="5798" y="1028"/>
                </a:lnTo>
                <a:lnTo>
                  <a:pt x="5921" y="251"/>
                </a:lnTo>
                <a:lnTo>
                  <a:pt x="6045" y="1028"/>
                </a:lnTo>
                <a:lnTo>
                  <a:pt x="6169" y="1805"/>
                </a:lnTo>
                <a:lnTo>
                  <a:pt x="6293" y="2582"/>
                </a:lnTo>
                <a:lnTo>
                  <a:pt x="6418" y="3358"/>
                </a:lnTo>
                <a:lnTo>
                  <a:pt x="6542" y="4135"/>
                </a:lnTo>
                <a:lnTo>
                  <a:pt x="6667" y="4912"/>
                </a:lnTo>
                <a:lnTo>
                  <a:pt x="6791" y="5688"/>
                </a:lnTo>
                <a:lnTo>
                  <a:pt x="6916" y="6465"/>
                </a:lnTo>
                <a:lnTo>
                  <a:pt x="6793" y="7242"/>
                </a:lnTo>
                <a:lnTo>
                  <a:pt x="6670" y="8018"/>
                </a:lnTo>
                <a:lnTo>
                  <a:pt x="6547" y="8795"/>
                </a:lnTo>
                <a:lnTo>
                  <a:pt x="6425" y="9572"/>
                </a:lnTo>
                <a:lnTo>
                  <a:pt x="6302" y="10348"/>
                </a:lnTo>
                <a:lnTo>
                  <a:pt x="6179" y="11125"/>
                </a:lnTo>
                <a:lnTo>
                  <a:pt x="6056" y="11902"/>
                </a:lnTo>
                <a:lnTo>
                  <a:pt x="5934" y="12679"/>
                </a:lnTo>
                <a:close/>
                <a:moveTo>
                  <a:pt x="9432" y="12679"/>
                </a:moveTo>
                <a:lnTo>
                  <a:pt x="9307" y="11902"/>
                </a:lnTo>
                <a:lnTo>
                  <a:pt x="9183" y="11125"/>
                </a:lnTo>
                <a:lnTo>
                  <a:pt x="9059" y="10348"/>
                </a:lnTo>
                <a:lnTo>
                  <a:pt x="8935" y="9572"/>
                </a:lnTo>
                <a:lnTo>
                  <a:pt x="8810" y="8795"/>
                </a:lnTo>
                <a:lnTo>
                  <a:pt x="8686" y="8018"/>
                </a:lnTo>
                <a:lnTo>
                  <a:pt x="8562" y="7242"/>
                </a:lnTo>
                <a:lnTo>
                  <a:pt x="8438" y="6465"/>
                </a:lnTo>
                <a:lnTo>
                  <a:pt x="8560" y="5688"/>
                </a:lnTo>
                <a:lnTo>
                  <a:pt x="8683" y="4912"/>
                </a:lnTo>
                <a:lnTo>
                  <a:pt x="8806" y="4135"/>
                </a:lnTo>
                <a:lnTo>
                  <a:pt x="8929" y="3358"/>
                </a:lnTo>
                <a:lnTo>
                  <a:pt x="9051" y="2582"/>
                </a:lnTo>
                <a:lnTo>
                  <a:pt x="9174" y="1805"/>
                </a:lnTo>
                <a:lnTo>
                  <a:pt x="9297" y="1028"/>
                </a:lnTo>
                <a:lnTo>
                  <a:pt x="9420" y="251"/>
                </a:lnTo>
                <a:lnTo>
                  <a:pt x="9544" y="1028"/>
                </a:lnTo>
                <a:lnTo>
                  <a:pt x="9669" y="1805"/>
                </a:lnTo>
                <a:lnTo>
                  <a:pt x="9793" y="2582"/>
                </a:lnTo>
                <a:lnTo>
                  <a:pt x="9918" y="3358"/>
                </a:lnTo>
                <a:lnTo>
                  <a:pt x="10042" y="4135"/>
                </a:lnTo>
                <a:lnTo>
                  <a:pt x="10166" y="4912"/>
                </a:lnTo>
                <a:lnTo>
                  <a:pt x="10290" y="5688"/>
                </a:lnTo>
                <a:lnTo>
                  <a:pt x="10415" y="6465"/>
                </a:lnTo>
                <a:lnTo>
                  <a:pt x="10292" y="7242"/>
                </a:lnTo>
                <a:lnTo>
                  <a:pt x="10169" y="8018"/>
                </a:lnTo>
                <a:lnTo>
                  <a:pt x="10046" y="8795"/>
                </a:lnTo>
                <a:lnTo>
                  <a:pt x="9924" y="9572"/>
                </a:lnTo>
                <a:lnTo>
                  <a:pt x="9801" y="10348"/>
                </a:lnTo>
                <a:lnTo>
                  <a:pt x="9678" y="11125"/>
                </a:lnTo>
                <a:lnTo>
                  <a:pt x="9554" y="11902"/>
                </a:lnTo>
                <a:lnTo>
                  <a:pt x="9432" y="12679"/>
                </a:lnTo>
                <a:close/>
                <a:moveTo>
                  <a:pt x="12932" y="12679"/>
                </a:moveTo>
                <a:lnTo>
                  <a:pt x="12807" y="11902"/>
                </a:lnTo>
                <a:lnTo>
                  <a:pt x="12683" y="11125"/>
                </a:lnTo>
                <a:lnTo>
                  <a:pt x="12559" y="10348"/>
                </a:lnTo>
                <a:lnTo>
                  <a:pt x="12435" y="9572"/>
                </a:lnTo>
                <a:lnTo>
                  <a:pt x="12310" y="8795"/>
                </a:lnTo>
                <a:lnTo>
                  <a:pt x="12186" y="8018"/>
                </a:lnTo>
                <a:lnTo>
                  <a:pt x="12062" y="7242"/>
                </a:lnTo>
                <a:lnTo>
                  <a:pt x="11938" y="6465"/>
                </a:lnTo>
                <a:lnTo>
                  <a:pt x="12060" y="5688"/>
                </a:lnTo>
                <a:lnTo>
                  <a:pt x="12183" y="4912"/>
                </a:lnTo>
                <a:lnTo>
                  <a:pt x="12306" y="4135"/>
                </a:lnTo>
                <a:lnTo>
                  <a:pt x="12429" y="3358"/>
                </a:lnTo>
                <a:lnTo>
                  <a:pt x="12551" y="2582"/>
                </a:lnTo>
                <a:lnTo>
                  <a:pt x="12674" y="1805"/>
                </a:lnTo>
                <a:lnTo>
                  <a:pt x="12797" y="1028"/>
                </a:lnTo>
                <a:lnTo>
                  <a:pt x="12920" y="251"/>
                </a:lnTo>
                <a:lnTo>
                  <a:pt x="13044" y="1028"/>
                </a:lnTo>
                <a:lnTo>
                  <a:pt x="13168" y="1805"/>
                </a:lnTo>
                <a:lnTo>
                  <a:pt x="13292" y="2582"/>
                </a:lnTo>
                <a:lnTo>
                  <a:pt x="13416" y="3358"/>
                </a:lnTo>
                <a:lnTo>
                  <a:pt x="13541" y="4135"/>
                </a:lnTo>
                <a:lnTo>
                  <a:pt x="13665" y="4912"/>
                </a:lnTo>
                <a:lnTo>
                  <a:pt x="13789" y="5688"/>
                </a:lnTo>
                <a:lnTo>
                  <a:pt x="13914" y="6465"/>
                </a:lnTo>
                <a:lnTo>
                  <a:pt x="13791" y="7242"/>
                </a:lnTo>
                <a:lnTo>
                  <a:pt x="13668" y="8018"/>
                </a:lnTo>
                <a:lnTo>
                  <a:pt x="13545" y="8795"/>
                </a:lnTo>
                <a:lnTo>
                  <a:pt x="13422" y="9572"/>
                </a:lnTo>
                <a:lnTo>
                  <a:pt x="13299" y="10348"/>
                </a:lnTo>
                <a:lnTo>
                  <a:pt x="13177" y="11125"/>
                </a:lnTo>
                <a:lnTo>
                  <a:pt x="13054" y="11902"/>
                </a:lnTo>
                <a:lnTo>
                  <a:pt x="12932" y="12679"/>
                </a:lnTo>
                <a:close/>
              </a:path>
            </a:pathLst>
          </a:custGeom>
          <a:solidFill>
            <a:srgbClr val="4E04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827" y="2492376"/>
            <a:ext cx="9214104" cy="3384551"/>
          </a:xfrm>
          <a:noFill/>
        </p:spPr>
        <p:txBody>
          <a:bodyPr lIns="36000" tIns="36000" rIns="36000" bIns="36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266620" indent="-266620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00C5B1-67F8-8C4F-9440-9F3D4CF2A82E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32A62-499F-41D5-833C-F13F18147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5A1CB989-3CAA-1AF5-42AE-76D16A55B24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415199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duction 2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9">
            <a:extLst>
              <a:ext uri="{FF2B5EF4-FFF2-40B4-BE49-F238E27FC236}">
                <a16:creationId xmlns:a16="http://schemas.microsoft.com/office/drawing/2014/main" id="{E4C05804-8141-4FEE-829D-F85D7384D40E}"/>
              </a:ext>
            </a:extLst>
          </p:cNvPr>
          <p:cNvSpPr>
            <a:spLocks noEditPoints="1"/>
          </p:cNvSpPr>
          <p:nvPr/>
        </p:nvSpPr>
        <p:spPr bwMode="auto">
          <a:xfrm>
            <a:off x="0" y="0"/>
            <a:ext cx="12188826" cy="6858000"/>
          </a:xfrm>
          <a:custGeom>
            <a:avLst/>
            <a:gdLst>
              <a:gd name="T0" fmla="*/ 1012 w 23040"/>
              <a:gd name="T1" fmla="*/ 7893 h 12948"/>
              <a:gd name="T2" fmla="*/ 168 w 23040"/>
              <a:gd name="T3" fmla="*/ 1549 h 12948"/>
              <a:gd name="T4" fmla="*/ 1023 w 23040"/>
              <a:gd name="T5" fmla="*/ 5006 h 12948"/>
              <a:gd name="T6" fmla="*/ 2692 w 23040"/>
              <a:gd name="T7" fmla="*/ 802 h 12948"/>
              <a:gd name="T8" fmla="*/ 1564 w 23040"/>
              <a:gd name="T9" fmla="*/ 5661 h 12948"/>
              <a:gd name="T10" fmla="*/ 2927 w 23040"/>
              <a:gd name="T11" fmla="*/ 12948 h 12948"/>
              <a:gd name="T12" fmla="*/ 1362 w 23040"/>
              <a:gd name="T13" fmla="*/ 6522 h 12948"/>
              <a:gd name="T14" fmla="*/ 1356 w 23040"/>
              <a:gd name="T15" fmla="*/ 6446 h 12948"/>
              <a:gd name="T16" fmla="*/ 21672 w 23040"/>
              <a:gd name="T17" fmla="*/ 6471 h 12948"/>
              <a:gd name="T18" fmla="*/ 22362 w 23040"/>
              <a:gd name="T19" fmla="*/ 9295 h 12948"/>
              <a:gd name="T20" fmla="*/ 22520 w 23040"/>
              <a:gd name="T21" fmla="*/ 10054 h 12948"/>
              <a:gd name="T22" fmla="*/ 20911 w 23040"/>
              <a:gd name="T23" fmla="*/ 9735 h 12948"/>
              <a:gd name="T24" fmla="*/ 20701 w 23040"/>
              <a:gd name="T25" fmla="*/ 10518 h 12948"/>
              <a:gd name="T26" fmla="*/ 20884 w 23040"/>
              <a:gd name="T27" fmla="*/ 3234 h 12948"/>
              <a:gd name="T28" fmla="*/ 20902 w 23040"/>
              <a:gd name="T29" fmla="*/ 3209 h 12948"/>
              <a:gd name="T30" fmla="*/ 22520 w 23040"/>
              <a:gd name="T31" fmla="*/ 2842 h 12948"/>
              <a:gd name="T32" fmla="*/ 22362 w 23040"/>
              <a:gd name="T33" fmla="*/ 3611 h 12948"/>
              <a:gd name="T34" fmla="*/ 18288 w 23040"/>
              <a:gd name="T35" fmla="*/ 6470 h 12948"/>
              <a:gd name="T36" fmla="*/ 18874 w 23040"/>
              <a:gd name="T37" fmla="*/ 4044 h 12948"/>
              <a:gd name="T38" fmla="*/ 19465 w 23040"/>
              <a:gd name="T39" fmla="*/ 11329 h 12948"/>
              <a:gd name="T40" fmla="*/ 18673 w 23040"/>
              <a:gd name="T41" fmla="*/ 8128 h 12948"/>
              <a:gd name="T42" fmla="*/ 16955 w 23040"/>
              <a:gd name="T43" fmla="*/ 12144 h 12948"/>
              <a:gd name="T44" fmla="*/ 18084 w 23040"/>
              <a:gd name="T45" fmla="*/ 7279 h 12948"/>
              <a:gd name="T46" fmla="*/ 16722 w 23040"/>
              <a:gd name="T47" fmla="*/ 0 h 12948"/>
              <a:gd name="T48" fmla="*/ 18288 w 23040"/>
              <a:gd name="T49" fmla="*/ 6419 h 12948"/>
              <a:gd name="T50" fmla="*/ 14908 w 23040"/>
              <a:gd name="T51" fmla="*/ 6495 h 12948"/>
              <a:gd name="T52" fmla="*/ 16256 w 23040"/>
              <a:gd name="T53" fmla="*/ 808 h 12948"/>
              <a:gd name="T54" fmla="*/ 15304 w 23040"/>
              <a:gd name="T55" fmla="*/ 8090 h 12948"/>
              <a:gd name="T56" fmla="*/ 16058 w 23040"/>
              <a:gd name="T57" fmla="*/ 11341 h 12948"/>
              <a:gd name="T58" fmla="*/ 14330 w 23040"/>
              <a:gd name="T59" fmla="*/ 8931 h 12948"/>
              <a:gd name="T60" fmla="*/ 13930 w 23040"/>
              <a:gd name="T61" fmla="*/ 10518 h 12948"/>
              <a:gd name="T62" fmla="*/ 14113 w 23040"/>
              <a:gd name="T63" fmla="*/ 3234 h 12948"/>
              <a:gd name="T64" fmla="*/ 14131 w 23040"/>
              <a:gd name="T65" fmla="*/ 3209 h 12948"/>
              <a:gd name="T66" fmla="*/ 15852 w 23040"/>
              <a:gd name="T67" fmla="*/ 2406 h 12948"/>
              <a:gd name="T68" fmla="*/ 11511 w 23040"/>
              <a:gd name="T69" fmla="*/ 6495 h 12948"/>
              <a:gd name="T70" fmla="*/ 11911 w 23040"/>
              <a:gd name="T71" fmla="*/ 4853 h 12948"/>
              <a:gd name="T72" fmla="*/ 12888 w 23040"/>
              <a:gd name="T73" fmla="*/ 12138 h 12948"/>
              <a:gd name="T74" fmla="*/ 11709 w 23040"/>
              <a:gd name="T75" fmla="*/ 7324 h 12948"/>
              <a:gd name="T76" fmla="*/ 9995 w 23040"/>
              <a:gd name="T77" fmla="*/ 12948 h 12948"/>
              <a:gd name="T78" fmla="*/ 11505 w 23040"/>
              <a:gd name="T79" fmla="*/ 6470 h 12948"/>
              <a:gd name="T80" fmla="*/ 9977 w 23040"/>
              <a:gd name="T81" fmla="*/ 0 h 12948"/>
              <a:gd name="T82" fmla="*/ 11706 w 23040"/>
              <a:gd name="T83" fmla="*/ 5615 h 12948"/>
              <a:gd name="T84" fmla="*/ 8132 w 23040"/>
              <a:gd name="T85" fmla="*/ 6471 h 12948"/>
              <a:gd name="T86" fmla="*/ 9293 w 23040"/>
              <a:gd name="T87" fmla="*/ 1618 h 12948"/>
              <a:gd name="T88" fmla="*/ 8726 w 23040"/>
              <a:gd name="T89" fmla="*/ 8900 h 12948"/>
              <a:gd name="T90" fmla="*/ 9095 w 23040"/>
              <a:gd name="T91" fmla="*/ 10537 h 12948"/>
              <a:gd name="T92" fmla="*/ 7371 w 23040"/>
              <a:gd name="T93" fmla="*/ 9735 h 12948"/>
              <a:gd name="T94" fmla="*/ 7351 w 23040"/>
              <a:gd name="T95" fmla="*/ 9708 h 12948"/>
              <a:gd name="T96" fmla="*/ 7147 w 23040"/>
              <a:gd name="T97" fmla="*/ 2424 h 12948"/>
              <a:gd name="T98" fmla="*/ 7554 w 23040"/>
              <a:gd name="T99" fmla="*/ 4011 h 12948"/>
              <a:gd name="T100" fmla="*/ 9272 w 23040"/>
              <a:gd name="T101" fmla="*/ 1604 h 12948"/>
              <a:gd name="T102" fmla="*/ 4752 w 23040"/>
              <a:gd name="T103" fmla="*/ 6495 h 12948"/>
              <a:gd name="T104" fmla="*/ 4949 w 23040"/>
              <a:gd name="T105" fmla="*/ 5661 h 12948"/>
              <a:gd name="T106" fmla="*/ 6313 w 23040"/>
              <a:gd name="T107" fmla="*/ 12948 h 12948"/>
              <a:gd name="T108" fmla="*/ 4746 w 23040"/>
              <a:gd name="T109" fmla="*/ 6522 h 12948"/>
              <a:gd name="T110" fmla="*/ 3199 w 23040"/>
              <a:gd name="T111" fmla="*/ 12948 h 12948"/>
              <a:gd name="T112" fmla="*/ 4539 w 23040"/>
              <a:gd name="T113" fmla="*/ 5660 h 12948"/>
              <a:gd name="T114" fmla="*/ 3398 w 23040"/>
              <a:gd name="T115" fmla="*/ 802 h 12948"/>
              <a:gd name="T116" fmla="*/ 5126 w 23040"/>
              <a:gd name="T117" fmla="*/ 4813 h 12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040" h="12948">
                <a:moveTo>
                  <a:pt x="6" y="12243"/>
                </a:moveTo>
                <a:lnTo>
                  <a:pt x="0" y="12267"/>
                </a:lnTo>
                <a:lnTo>
                  <a:pt x="0" y="12162"/>
                </a:lnTo>
                <a:lnTo>
                  <a:pt x="168" y="11450"/>
                </a:lnTo>
                <a:lnTo>
                  <a:pt x="337" y="10739"/>
                </a:lnTo>
                <a:lnTo>
                  <a:pt x="505" y="10027"/>
                </a:lnTo>
                <a:lnTo>
                  <a:pt x="675" y="9316"/>
                </a:lnTo>
                <a:lnTo>
                  <a:pt x="843" y="8604"/>
                </a:lnTo>
                <a:lnTo>
                  <a:pt x="1012" y="7893"/>
                </a:lnTo>
                <a:lnTo>
                  <a:pt x="1180" y="7180"/>
                </a:lnTo>
                <a:lnTo>
                  <a:pt x="1350" y="6470"/>
                </a:lnTo>
                <a:lnTo>
                  <a:pt x="1180" y="5766"/>
                </a:lnTo>
                <a:lnTo>
                  <a:pt x="1012" y="5063"/>
                </a:lnTo>
                <a:lnTo>
                  <a:pt x="843" y="4359"/>
                </a:lnTo>
                <a:lnTo>
                  <a:pt x="675" y="3658"/>
                </a:lnTo>
                <a:lnTo>
                  <a:pt x="505" y="2954"/>
                </a:lnTo>
                <a:lnTo>
                  <a:pt x="337" y="2252"/>
                </a:lnTo>
                <a:lnTo>
                  <a:pt x="168" y="1549"/>
                </a:lnTo>
                <a:lnTo>
                  <a:pt x="0" y="847"/>
                </a:lnTo>
                <a:lnTo>
                  <a:pt x="0" y="769"/>
                </a:lnTo>
                <a:lnTo>
                  <a:pt x="6" y="768"/>
                </a:lnTo>
                <a:lnTo>
                  <a:pt x="175" y="1474"/>
                </a:lnTo>
                <a:lnTo>
                  <a:pt x="345" y="2180"/>
                </a:lnTo>
                <a:lnTo>
                  <a:pt x="514" y="2887"/>
                </a:lnTo>
                <a:lnTo>
                  <a:pt x="684" y="3593"/>
                </a:lnTo>
                <a:lnTo>
                  <a:pt x="853" y="4300"/>
                </a:lnTo>
                <a:lnTo>
                  <a:pt x="1023" y="5006"/>
                </a:lnTo>
                <a:lnTo>
                  <a:pt x="1192" y="5712"/>
                </a:lnTo>
                <a:lnTo>
                  <a:pt x="1362" y="6419"/>
                </a:lnTo>
                <a:lnTo>
                  <a:pt x="1551" y="5615"/>
                </a:lnTo>
                <a:lnTo>
                  <a:pt x="1741" y="4813"/>
                </a:lnTo>
                <a:lnTo>
                  <a:pt x="1931" y="4011"/>
                </a:lnTo>
                <a:lnTo>
                  <a:pt x="2122" y="3209"/>
                </a:lnTo>
                <a:lnTo>
                  <a:pt x="2311" y="2406"/>
                </a:lnTo>
                <a:lnTo>
                  <a:pt x="2501" y="1604"/>
                </a:lnTo>
                <a:lnTo>
                  <a:pt x="2692" y="802"/>
                </a:lnTo>
                <a:lnTo>
                  <a:pt x="2882" y="0"/>
                </a:lnTo>
                <a:lnTo>
                  <a:pt x="2906" y="0"/>
                </a:lnTo>
                <a:lnTo>
                  <a:pt x="2714" y="808"/>
                </a:lnTo>
                <a:lnTo>
                  <a:pt x="2522" y="1618"/>
                </a:lnTo>
                <a:lnTo>
                  <a:pt x="2330" y="2426"/>
                </a:lnTo>
                <a:lnTo>
                  <a:pt x="2140" y="3236"/>
                </a:lnTo>
                <a:lnTo>
                  <a:pt x="1948" y="4044"/>
                </a:lnTo>
                <a:lnTo>
                  <a:pt x="1756" y="4853"/>
                </a:lnTo>
                <a:lnTo>
                  <a:pt x="1564" y="5661"/>
                </a:lnTo>
                <a:lnTo>
                  <a:pt x="1374" y="6471"/>
                </a:lnTo>
                <a:lnTo>
                  <a:pt x="1567" y="7281"/>
                </a:lnTo>
                <a:lnTo>
                  <a:pt x="1762" y="8090"/>
                </a:lnTo>
                <a:lnTo>
                  <a:pt x="1955" y="8900"/>
                </a:lnTo>
                <a:lnTo>
                  <a:pt x="2150" y="9710"/>
                </a:lnTo>
                <a:lnTo>
                  <a:pt x="2344" y="10519"/>
                </a:lnTo>
                <a:lnTo>
                  <a:pt x="2539" y="11329"/>
                </a:lnTo>
                <a:lnTo>
                  <a:pt x="2732" y="12138"/>
                </a:lnTo>
                <a:lnTo>
                  <a:pt x="2927" y="12948"/>
                </a:lnTo>
                <a:lnTo>
                  <a:pt x="2903" y="12948"/>
                </a:lnTo>
                <a:lnTo>
                  <a:pt x="2710" y="12144"/>
                </a:lnTo>
                <a:lnTo>
                  <a:pt x="2518" y="11341"/>
                </a:lnTo>
                <a:lnTo>
                  <a:pt x="2324" y="10537"/>
                </a:lnTo>
                <a:lnTo>
                  <a:pt x="2132" y="9735"/>
                </a:lnTo>
                <a:lnTo>
                  <a:pt x="1939" y="8931"/>
                </a:lnTo>
                <a:lnTo>
                  <a:pt x="1747" y="8128"/>
                </a:lnTo>
                <a:lnTo>
                  <a:pt x="1554" y="7324"/>
                </a:lnTo>
                <a:lnTo>
                  <a:pt x="1362" y="6522"/>
                </a:lnTo>
                <a:lnTo>
                  <a:pt x="1192" y="7236"/>
                </a:lnTo>
                <a:lnTo>
                  <a:pt x="1023" y="7951"/>
                </a:lnTo>
                <a:lnTo>
                  <a:pt x="853" y="8666"/>
                </a:lnTo>
                <a:lnTo>
                  <a:pt x="684" y="9382"/>
                </a:lnTo>
                <a:lnTo>
                  <a:pt x="514" y="10097"/>
                </a:lnTo>
                <a:lnTo>
                  <a:pt x="345" y="10812"/>
                </a:lnTo>
                <a:lnTo>
                  <a:pt x="175" y="11528"/>
                </a:lnTo>
                <a:lnTo>
                  <a:pt x="6" y="12243"/>
                </a:lnTo>
                <a:close/>
                <a:moveTo>
                  <a:pt x="1356" y="6446"/>
                </a:moveTo>
                <a:lnTo>
                  <a:pt x="1362" y="6470"/>
                </a:lnTo>
                <a:lnTo>
                  <a:pt x="1356" y="6495"/>
                </a:lnTo>
                <a:lnTo>
                  <a:pt x="1368" y="6495"/>
                </a:lnTo>
                <a:lnTo>
                  <a:pt x="1362" y="6471"/>
                </a:lnTo>
                <a:lnTo>
                  <a:pt x="1368" y="6446"/>
                </a:lnTo>
                <a:lnTo>
                  <a:pt x="1356" y="6446"/>
                </a:lnTo>
                <a:close/>
                <a:moveTo>
                  <a:pt x="21666" y="6495"/>
                </a:moveTo>
                <a:lnTo>
                  <a:pt x="21678" y="6495"/>
                </a:lnTo>
                <a:lnTo>
                  <a:pt x="21672" y="6471"/>
                </a:lnTo>
                <a:lnTo>
                  <a:pt x="21678" y="6446"/>
                </a:lnTo>
                <a:lnTo>
                  <a:pt x="21666" y="6446"/>
                </a:lnTo>
                <a:lnTo>
                  <a:pt x="21672" y="6470"/>
                </a:lnTo>
                <a:lnTo>
                  <a:pt x="21666" y="6495"/>
                </a:lnTo>
                <a:close/>
                <a:moveTo>
                  <a:pt x="21684" y="6471"/>
                </a:moveTo>
                <a:lnTo>
                  <a:pt x="21854" y="7176"/>
                </a:lnTo>
                <a:lnTo>
                  <a:pt x="22023" y="7882"/>
                </a:lnTo>
                <a:lnTo>
                  <a:pt x="22193" y="8589"/>
                </a:lnTo>
                <a:lnTo>
                  <a:pt x="22362" y="9295"/>
                </a:lnTo>
                <a:lnTo>
                  <a:pt x="22532" y="10000"/>
                </a:lnTo>
                <a:lnTo>
                  <a:pt x="22701" y="10706"/>
                </a:lnTo>
                <a:lnTo>
                  <a:pt x="22871" y="11413"/>
                </a:lnTo>
                <a:lnTo>
                  <a:pt x="23040" y="12119"/>
                </a:lnTo>
                <a:lnTo>
                  <a:pt x="23040" y="12171"/>
                </a:lnTo>
                <a:lnTo>
                  <a:pt x="23028" y="12173"/>
                </a:lnTo>
                <a:lnTo>
                  <a:pt x="22859" y="11466"/>
                </a:lnTo>
                <a:lnTo>
                  <a:pt x="22689" y="10760"/>
                </a:lnTo>
                <a:lnTo>
                  <a:pt x="22520" y="10054"/>
                </a:lnTo>
                <a:lnTo>
                  <a:pt x="22350" y="9347"/>
                </a:lnTo>
                <a:lnTo>
                  <a:pt x="22181" y="8641"/>
                </a:lnTo>
                <a:lnTo>
                  <a:pt x="22011" y="7935"/>
                </a:lnTo>
                <a:lnTo>
                  <a:pt x="21842" y="7228"/>
                </a:lnTo>
                <a:lnTo>
                  <a:pt x="21672" y="6522"/>
                </a:lnTo>
                <a:lnTo>
                  <a:pt x="21482" y="7324"/>
                </a:lnTo>
                <a:lnTo>
                  <a:pt x="21291" y="8128"/>
                </a:lnTo>
                <a:lnTo>
                  <a:pt x="21101" y="8931"/>
                </a:lnTo>
                <a:lnTo>
                  <a:pt x="20911" y="9735"/>
                </a:lnTo>
                <a:lnTo>
                  <a:pt x="20720" y="10537"/>
                </a:lnTo>
                <a:lnTo>
                  <a:pt x="20530" y="11341"/>
                </a:lnTo>
                <a:lnTo>
                  <a:pt x="20339" y="12144"/>
                </a:lnTo>
                <a:lnTo>
                  <a:pt x="20150" y="12948"/>
                </a:lnTo>
                <a:lnTo>
                  <a:pt x="20138" y="12948"/>
                </a:lnTo>
                <a:lnTo>
                  <a:pt x="20125" y="12948"/>
                </a:lnTo>
                <a:lnTo>
                  <a:pt x="20317" y="12137"/>
                </a:lnTo>
                <a:lnTo>
                  <a:pt x="20509" y="11327"/>
                </a:lnTo>
                <a:lnTo>
                  <a:pt x="20701" y="10518"/>
                </a:lnTo>
                <a:lnTo>
                  <a:pt x="20893" y="9708"/>
                </a:lnTo>
                <a:lnTo>
                  <a:pt x="21085" y="8898"/>
                </a:lnTo>
                <a:lnTo>
                  <a:pt x="21276" y="8089"/>
                </a:lnTo>
                <a:lnTo>
                  <a:pt x="21468" y="7279"/>
                </a:lnTo>
                <a:lnTo>
                  <a:pt x="21660" y="6470"/>
                </a:lnTo>
                <a:lnTo>
                  <a:pt x="21465" y="5660"/>
                </a:lnTo>
                <a:lnTo>
                  <a:pt x="21272" y="4852"/>
                </a:lnTo>
                <a:lnTo>
                  <a:pt x="21077" y="4042"/>
                </a:lnTo>
                <a:lnTo>
                  <a:pt x="20884" y="3234"/>
                </a:lnTo>
                <a:lnTo>
                  <a:pt x="20689" y="2424"/>
                </a:lnTo>
                <a:lnTo>
                  <a:pt x="20495" y="1616"/>
                </a:lnTo>
                <a:lnTo>
                  <a:pt x="20302" y="808"/>
                </a:lnTo>
                <a:lnTo>
                  <a:pt x="20108" y="0"/>
                </a:lnTo>
                <a:lnTo>
                  <a:pt x="20132" y="0"/>
                </a:lnTo>
                <a:lnTo>
                  <a:pt x="20324" y="802"/>
                </a:lnTo>
                <a:lnTo>
                  <a:pt x="20516" y="1604"/>
                </a:lnTo>
                <a:lnTo>
                  <a:pt x="20708" y="2406"/>
                </a:lnTo>
                <a:lnTo>
                  <a:pt x="20902" y="3209"/>
                </a:lnTo>
                <a:lnTo>
                  <a:pt x="21094" y="4011"/>
                </a:lnTo>
                <a:lnTo>
                  <a:pt x="21287" y="4813"/>
                </a:lnTo>
                <a:lnTo>
                  <a:pt x="21479" y="5615"/>
                </a:lnTo>
                <a:lnTo>
                  <a:pt x="21672" y="6419"/>
                </a:lnTo>
                <a:lnTo>
                  <a:pt x="21842" y="5703"/>
                </a:lnTo>
                <a:lnTo>
                  <a:pt x="22011" y="4988"/>
                </a:lnTo>
                <a:lnTo>
                  <a:pt x="22181" y="4273"/>
                </a:lnTo>
                <a:lnTo>
                  <a:pt x="22350" y="3557"/>
                </a:lnTo>
                <a:lnTo>
                  <a:pt x="22520" y="2842"/>
                </a:lnTo>
                <a:lnTo>
                  <a:pt x="22689" y="2127"/>
                </a:lnTo>
                <a:lnTo>
                  <a:pt x="22859" y="1411"/>
                </a:lnTo>
                <a:lnTo>
                  <a:pt x="23028" y="697"/>
                </a:lnTo>
                <a:lnTo>
                  <a:pt x="23040" y="699"/>
                </a:lnTo>
                <a:lnTo>
                  <a:pt x="23040" y="751"/>
                </a:lnTo>
                <a:lnTo>
                  <a:pt x="22871" y="1465"/>
                </a:lnTo>
                <a:lnTo>
                  <a:pt x="22701" y="2180"/>
                </a:lnTo>
                <a:lnTo>
                  <a:pt x="22532" y="2896"/>
                </a:lnTo>
                <a:lnTo>
                  <a:pt x="22362" y="3611"/>
                </a:lnTo>
                <a:lnTo>
                  <a:pt x="22193" y="4325"/>
                </a:lnTo>
                <a:lnTo>
                  <a:pt x="22023" y="5040"/>
                </a:lnTo>
                <a:lnTo>
                  <a:pt x="21854" y="5756"/>
                </a:lnTo>
                <a:lnTo>
                  <a:pt x="21684" y="6471"/>
                </a:lnTo>
                <a:close/>
                <a:moveTo>
                  <a:pt x="18294" y="6495"/>
                </a:moveTo>
                <a:lnTo>
                  <a:pt x="18288" y="6471"/>
                </a:lnTo>
                <a:lnTo>
                  <a:pt x="18294" y="6446"/>
                </a:lnTo>
                <a:lnTo>
                  <a:pt x="18282" y="6446"/>
                </a:lnTo>
                <a:lnTo>
                  <a:pt x="18288" y="6470"/>
                </a:lnTo>
                <a:lnTo>
                  <a:pt x="18282" y="6495"/>
                </a:lnTo>
                <a:lnTo>
                  <a:pt x="18294" y="6495"/>
                </a:lnTo>
                <a:close/>
                <a:moveTo>
                  <a:pt x="19808" y="0"/>
                </a:moveTo>
                <a:lnTo>
                  <a:pt x="19834" y="0"/>
                </a:lnTo>
                <a:lnTo>
                  <a:pt x="19642" y="808"/>
                </a:lnTo>
                <a:lnTo>
                  <a:pt x="19450" y="1618"/>
                </a:lnTo>
                <a:lnTo>
                  <a:pt x="19258" y="2426"/>
                </a:lnTo>
                <a:lnTo>
                  <a:pt x="19066" y="3236"/>
                </a:lnTo>
                <a:lnTo>
                  <a:pt x="18874" y="4044"/>
                </a:lnTo>
                <a:lnTo>
                  <a:pt x="18682" y="4853"/>
                </a:lnTo>
                <a:lnTo>
                  <a:pt x="18490" y="5661"/>
                </a:lnTo>
                <a:lnTo>
                  <a:pt x="18300" y="6471"/>
                </a:lnTo>
                <a:lnTo>
                  <a:pt x="18493" y="7281"/>
                </a:lnTo>
                <a:lnTo>
                  <a:pt x="18688" y="8090"/>
                </a:lnTo>
                <a:lnTo>
                  <a:pt x="18882" y="8900"/>
                </a:lnTo>
                <a:lnTo>
                  <a:pt x="19077" y="9710"/>
                </a:lnTo>
                <a:lnTo>
                  <a:pt x="19270" y="10519"/>
                </a:lnTo>
                <a:lnTo>
                  <a:pt x="19465" y="11329"/>
                </a:lnTo>
                <a:lnTo>
                  <a:pt x="19658" y="12138"/>
                </a:lnTo>
                <a:lnTo>
                  <a:pt x="19853" y="12948"/>
                </a:lnTo>
                <a:lnTo>
                  <a:pt x="19829" y="12948"/>
                </a:lnTo>
                <a:lnTo>
                  <a:pt x="19636" y="12144"/>
                </a:lnTo>
                <a:lnTo>
                  <a:pt x="19444" y="11341"/>
                </a:lnTo>
                <a:lnTo>
                  <a:pt x="19250" y="10537"/>
                </a:lnTo>
                <a:lnTo>
                  <a:pt x="19059" y="9735"/>
                </a:lnTo>
                <a:lnTo>
                  <a:pt x="18865" y="8931"/>
                </a:lnTo>
                <a:lnTo>
                  <a:pt x="18673" y="8128"/>
                </a:lnTo>
                <a:lnTo>
                  <a:pt x="18480" y="7324"/>
                </a:lnTo>
                <a:lnTo>
                  <a:pt x="18288" y="6522"/>
                </a:lnTo>
                <a:lnTo>
                  <a:pt x="18097" y="7324"/>
                </a:lnTo>
                <a:lnTo>
                  <a:pt x="17907" y="8128"/>
                </a:lnTo>
                <a:lnTo>
                  <a:pt x="17716" y="8931"/>
                </a:lnTo>
                <a:lnTo>
                  <a:pt x="17526" y="9735"/>
                </a:lnTo>
                <a:lnTo>
                  <a:pt x="17335" y="10537"/>
                </a:lnTo>
                <a:lnTo>
                  <a:pt x="17145" y="11341"/>
                </a:lnTo>
                <a:lnTo>
                  <a:pt x="16955" y="12144"/>
                </a:lnTo>
                <a:lnTo>
                  <a:pt x="16764" y="12948"/>
                </a:lnTo>
                <a:lnTo>
                  <a:pt x="16740" y="12948"/>
                </a:lnTo>
                <a:lnTo>
                  <a:pt x="16932" y="12137"/>
                </a:lnTo>
                <a:lnTo>
                  <a:pt x="17124" y="11327"/>
                </a:lnTo>
                <a:lnTo>
                  <a:pt x="17316" y="10518"/>
                </a:lnTo>
                <a:lnTo>
                  <a:pt x="17508" y="9708"/>
                </a:lnTo>
                <a:lnTo>
                  <a:pt x="17700" y="8898"/>
                </a:lnTo>
                <a:lnTo>
                  <a:pt x="17892" y="8089"/>
                </a:lnTo>
                <a:lnTo>
                  <a:pt x="18084" y="7279"/>
                </a:lnTo>
                <a:lnTo>
                  <a:pt x="18276" y="6470"/>
                </a:lnTo>
                <a:lnTo>
                  <a:pt x="18081" y="5660"/>
                </a:lnTo>
                <a:lnTo>
                  <a:pt x="17887" y="4852"/>
                </a:lnTo>
                <a:lnTo>
                  <a:pt x="17692" y="4042"/>
                </a:lnTo>
                <a:lnTo>
                  <a:pt x="17499" y="3234"/>
                </a:lnTo>
                <a:lnTo>
                  <a:pt x="17304" y="2424"/>
                </a:lnTo>
                <a:lnTo>
                  <a:pt x="17111" y="1616"/>
                </a:lnTo>
                <a:lnTo>
                  <a:pt x="16916" y="808"/>
                </a:lnTo>
                <a:lnTo>
                  <a:pt x="16722" y="0"/>
                </a:lnTo>
                <a:lnTo>
                  <a:pt x="16748" y="0"/>
                </a:lnTo>
                <a:lnTo>
                  <a:pt x="16940" y="802"/>
                </a:lnTo>
                <a:lnTo>
                  <a:pt x="17132" y="1604"/>
                </a:lnTo>
                <a:lnTo>
                  <a:pt x="17323" y="2406"/>
                </a:lnTo>
                <a:lnTo>
                  <a:pt x="17517" y="3209"/>
                </a:lnTo>
                <a:lnTo>
                  <a:pt x="17709" y="4011"/>
                </a:lnTo>
                <a:lnTo>
                  <a:pt x="17902" y="4813"/>
                </a:lnTo>
                <a:lnTo>
                  <a:pt x="18094" y="5615"/>
                </a:lnTo>
                <a:lnTo>
                  <a:pt x="18288" y="6419"/>
                </a:lnTo>
                <a:lnTo>
                  <a:pt x="18477" y="5615"/>
                </a:lnTo>
                <a:lnTo>
                  <a:pt x="18667" y="4813"/>
                </a:lnTo>
                <a:lnTo>
                  <a:pt x="18858" y="4011"/>
                </a:lnTo>
                <a:lnTo>
                  <a:pt x="19048" y="3209"/>
                </a:lnTo>
                <a:lnTo>
                  <a:pt x="19237" y="2406"/>
                </a:lnTo>
                <a:lnTo>
                  <a:pt x="19427" y="1604"/>
                </a:lnTo>
                <a:lnTo>
                  <a:pt x="19618" y="802"/>
                </a:lnTo>
                <a:lnTo>
                  <a:pt x="19808" y="0"/>
                </a:lnTo>
                <a:close/>
                <a:moveTo>
                  <a:pt x="14908" y="6495"/>
                </a:moveTo>
                <a:lnTo>
                  <a:pt x="14902" y="6471"/>
                </a:lnTo>
                <a:lnTo>
                  <a:pt x="14908" y="6446"/>
                </a:lnTo>
                <a:lnTo>
                  <a:pt x="14897" y="6446"/>
                </a:lnTo>
                <a:lnTo>
                  <a:pt x="14902" y="6470"/>
                </a:lnTo>
                <a:lnTo>
                  <a:pt x="14896" y="6495"/>
                </a:lnTo>
                <a:lnTo>
                  <a:pt x="14908" y="6495"/>
                </a:lnTo>
                <a:close/>
                <a:moveTo>
                  <a:pt x="16424" y="0"/>
                </a:moveTo>
                <a:lnTo>
                  <a:pt x="16448" y="0"/>
                </a:lnTo>
                <a:lnTo>
                  <a:pt x="16256" y="808"/>
                </a:lnTo>
                <a:lnTo>
                  <a:pt x="16064" y="1618"/>
                </a:lnTo>
                <a:lnTo>
                  <a:pt x="15872" y="2426"/>
                </a:lnTo>
                <a:lnTo>
                  <a:pt x="15681" y="3236"/>
                </a:lnTo>
                <a:lnTo>
                  <a:pt x="15489" y="4044"/>
                </a:lnTo>
                <a:lnTo>
                  <a:pt x="15298" y="4853"/>
                </a:lnTo>
                <a:lnTo>
                  <a:pt x="15106" y="5661"/>
                </a:lnTo>
                <a:lnTo>
                  <a:pt x="14915" y="6471"/>
                </a:lnTo>
                <a:lnTo>
                  <a:pt x="15109" y="7281"/>
                </a:lnTo>
                <a:lnTo>
                  <a:pt x="15304" y="8090"/>
                </a:lnTo>
                <a:lnTo>
                  <a:pt x="15497" y="8900"/>
                </a:lnTo>
                <a:lnTo>
                  <a:pt x="15692" y="9710"/>
                </a:lnTo>
                <a:lnTo>
                  <a:pt x="15885" y="10519"/>
                </a:lnTo>
                <a:lnTo>
                  <a:pt x="16080" y="11329"/>
                </a:lnTo>
                <a:lnTo>
                  <a:pt x="16274" y="12138"/>
                </a:lnTo>
                <a:lnTo>
                  <a:pt x="16469" y="12948"/>
                </a:lnTo>
                <a:lnTo>
                  <a:pt x="16443" y="12948"/>
                </a:lnTo>
                <a:lnTo>
                  <a:pt x="16250" y="12144"/>
                </a:lnTo>
                <a:lnTo>
                  <a:pt x="16058" y="11341"/>
                </a:lnTo>
                <a:lnTo>
                  <a:pt x="15864" y="10537"/>
                </a:lnTo>
                <a:lnTo>
                  <a:pt x="15672" y="9735"/>
                </a:lnTo>
                <a:lnTo>
                  <a:pt x="15479" y="8931"/>
                </a:lnTo>
                <a:lnTo>
                  <a:pt x="15287" y="8128"/>
                </a:lnTo>
                <a:lnTo>
                  <a:pt x="15094" y="7324"/>
                </a:lnTo>
                <a:lnTo>
                  <a:pt x="14902" y="6522"/>
                </a:lnTo>
                <a:lnTo>
                  <a:pt x="14711" y="7324"/>
                </a:lnTo>
                <a:lnTo>
                  <a:pt x="14521" y="8128"/>
                </a:lnTo>
                <a:lnTo>
                  <a:pt x="14330" y="8931"/>
                </a:lnTo>
                <a:lnTo>
                  <a:pt x="14140" y="9735"/>
                </a:lnTo>
                <a:lnTo>
                  <a:pt x="13949" y="10537"/>
                </a:lnTo>
                <a:lnTo>
                  <a:pt x="13759" y="11341"/>
                </a:lnTo>
                <a:lnTo>
                  <a:pt x="13568" y="12144"/>
                </a:lnTo>
                <a:lnTo>
                  <a:pt x="13380" y="12948"/>
                </a:lnTo>
                <a:lnTo>
                  <a:pt x="13356" y="12948"/>
                </a:lnTo>
                <a:lnTo>
                  <a:pt x="13546" y="12137"/>
                </a:lnTo>
                <a:lnTo>
                  <a:pt x="13738" y="11327"/>
                </a:lnTo>
                <a:lnTo>
                  <a:pt x="13930" y="10518"/>
                </a:lnTo>
                <a:lnTo>
                  <a:pt x="14122" y="9708"/>
                </a:lnTo>
                <a:lnTo>
                  <a:pt x="14314" y="8898"/>
                </a:lnTo>
                <a:lnTo>
                  <a:pt x="14506" y="8089"/>
                </a:lnTo>
                <a:lnTo>
                  <a:pt x="14698" y="7279"/>
                </a:lnTo>
                <a:lnTo>
                  <a:pt x="14890" y="6470"/>
                </a:lnTo>
                <a:lnTo>
                  <a:pt x="14695" y="5660"/>
                </a:lnTo>
                <a:lnTo>
                  <a:pt x="14501" y="4852"/>
                </a:lnTo>
                <a:lnTo>
                  <a:pt x="14306" y="4042"/>
                </a:lnTo>
                <a:lnTo>
                  <a:pt x="14113" y="3234"/>
                </a:lnTo>
                <a:lnTo>
                  <a:pt x="13918" y="2424"/>
                </a:lnTo>
                <a:lnTo>
                  <a:pt x="13724" y="1616"/>
                </a:lnTo>
                <a:lnTo>
                  <a:pt x="13531" y="808"/>
                </a:lnTo>
                <a:lnTo>
                  <a:pt x="13338" y="0"/>
                </a:lnTo>
                <a:lnTo>
                  <a:pt x="13362" y="0"/>
                </a:lnTo>
                <a:lnTo>
                  <a:pt x="13553" y="802"/>
                </a:lnTo>
                <a:lnTo>
                  <a:pt x="13745" y="1604"/>
                </a:lnTo>
                <a:lnTo>
                  <a:pt x="13937" y="2406"/>
                </a:lnTo>
                <a:lnTo>
                  <a:pt x="14131" y="3209"/>
                </a:lnTo>
                <a:lnTo>
                  <a:pt x="14323" y="4011"/>
                </a:lnTo>
                <a:lnTo>
                  <a:pt x="14516" y="4813"/>
                </a:lnTo>
                <a:lnTo>
                  <a:pt x="14708" y="5615"/>
                </a:lnTo>
                <a:lnTo>
                  <a:pt x="14902" y="6419"/>
                </a:lnTo>
                <a:lnTo>
                  <a:pt x="15091" y="5615"/>
                </a:lnTo>
                <a:lnTo>
                  <a:pt x="15281" y="4813"/>
                </a:lnTo>
                <a:lnTo>
                  <a:pt x="15471" y="4011"/>
                </a:lnTo>
                <a:lnTo>
                  <a:pt x="15662" y="3209"/>
                </a:lnTo>
                <a:lnTo>
                  <a:pt x="15852" y="2406"/>
                </a:lnTo>
                <a:lnTo>
                  <a:pt x="16043" y="1604"/>
                </a:lnTo>
                <a:lnTo>
                  <a:pt x="16233" y="802"/>
                </a:lnTo>
                <a:lnTo>
                  <a:pt x="16424" y="0"/>
                </a:lnTo>
                <a:close/>
                <a:moveTo>
                  <a:pt x="11523" y="6495"/>
                </a:moveTo>
                <a:lnTo>
                  <a:pt x="11517" y="6471"/>
                </a:lnTo>
                <a:lnTo>
                  <a:pt x="11523" y="6446"/>
                </a:lnTo>
                <a:lnTo>
                  <a:pt x="11511" y="6446"/>
                </a:lnTo>
                <a:lnTo>
                  <a:pt x="11517" y="6470"/>
                </a:lnTo>
                <a:lnTo>
                  <a:pt x="11511" y="6495"/>
                </a:lnTo>
                <a:lnTo>
                  <a:pt x="11523" y="6495"/>
                </a:lnTo>
                <a:close/>
                <a:moveTo>
                  <a:pt x="13038" y="0"/>
                </a:moveTo>
                <a:lnTo>
                  <a:pt x="13063" y="0"/>
                </a:lnTo>
                <a:lnTo>
                  <a:pt x="12871" y="808"/>
                </a:lnTo>
                <a:lnTo>
                  <a:pt x="12679" y="1618"/>
                </a:lnTo>
                <a:lnTo>
                  <a:pt x="12487" y="2426"/>
                </a:lnTo>
                <a:lnTo>
                  <a:pt x="12295" y="3236"/>
                </a:lnTo>
                <a:lnTo>
                  <a:pt x="12103" y="4044"/>
                </a:lnTo>
                <a:lnTo>
                  <a:pt x="11911" y="4853"/>
                </a:lnTo>
                <a:lnTo>
                  <a:pt x="11719" y="5661"/>
                </a:lnTo>
                <a:lnTo>
                  <a:pt x="11529" y="6471"/>
                </a:lnTo>
                <a:lnTo>
                  <a:pt x="11722" y="7281"/>
                </a:lnTo>
                <a:lnTo>
                  <a:pt x="11917" y="8090"/>
                </a:lnTo>
                <a:lnTo>
                  <a:pt x="12111" y="8900"/>
                </a:lnTo>
                <a:lnTo>
                  <a:pt x="12306" y="9710"/>
                </a:lnTo>
                <a:lnTo>
                  <a:pt x="12499" y="10519"/>
                </a:lnTo>
                <a:lnTo>
                  <a:pt x="12694" y="11329"/>
                </a:lnTo>
                <a:lnTo>
                  <a:pt x="12888" y="12138"/>
                </a:lnTo>
                <a:lnTo>
                  <a:pt x="13083" y="12948"/>
                </a:lnTo>
                <a:lnTo>
                  <a:pt x="13059" y="12948"/>
                </a:lnTo>
                <a:lnTo>
                  <a:pt x="12865" y="12144"/>
                </a:lnTo>
                <a:lnTo>
                  <a:pt x="12673" y="11341"/>
                </a:lnTo>
                <a:lnTo>
                  <a:pt x="12480" y="10537"/>
                </a:lnTo>
                <a:lnTo>
                  <a:pt x="12288" y="9735"/>
                </a:lnTo>
                <a:lnTo>
                  <a:pt x="12094" y="8931"/>
                </a:lnTo>
                <a:lnTo>
                  <a:pt x="11902" y="8128"/>
                </a:lnTo>
                <a:lnTo>
                  <a:pt x="11709" y="7324"/>
                </a:lnTo>
                <a:lnTo>
                  <a:pt x="11517" y="6522"/>
                </a:lnTo>
                <a:lnTo>
                  <a:pt x="11327" y="7324"/>
                </a:lnTo>
                <a:lnTo>
                  <a:pt x="11136" y="8128"/>
                </a:lnTo>
                <a:lnTo>
                  <a:pt x="10946" y="8931"/>
                </a:lnTo>
                <a:lnTo>
                  <a:pt x="10755" y="9735"/>
                </a:lnTo>
                <a:lnTo>
                  <a:pt x="10565" y="10537"/>
                </a:lnTo>
                <a:lnTo>
                  <a:pt x="10374" y="11341"/>
                </a:lnTo>
                <a:lnTo>
                  <a:pt x="10184" y="12144"/>
                </a:lnTo>
                <a:lnTo>
                  <a:pt x="9995" y="12948"/>
                </a:lnTo>
                <a:lnTo>
                  <a:pt x="9969" y="12948"/>
                </a:lnTo>
                <a:lnTo>
                  <a:pt x="10161" y="12137"/>
                </a:lnTo>
                <a:lnTo>
                  <a:pt x="10353" y="11327"/>
                </a:lnTo>
                <a:lnTo>
                  <a:pt x="10545" y="10518"/>
                </a:lnTo>
                <a:lnTo>
                  <a:pt x="10737" y="9708"/>
                </a:lnTo>
                <a:lnTo>
                  <a:pt x="10929" y="8898"/>
                </a:lnTo>
                <a:lnTo>
                  <a:pt x="11121" y="8089"/>
                </a:lnTo>
                <a:lnTo>
                  <a:pt x="11313" y="7279"/>
                </a:lnTo>
                <a:lnTo>
                  <a:pt x="11505" y="6470"/>
                </a:lnTo>
                <a:lnTo>
                  <a:pt x="11310" y="5660"/>
                </a:lnTo>
                <a:lnTo>
                  <a:pt x="11117" y="4852"/>
                </a:lnTo>
                <a:lnTo>
                  <a:pt x="10922" y="4042"/>
                </a:lnTo>
                <a:lnTo>
                  <a:pt x="10728" y="3234"/>
                </a:lnTo>
                <a:lnTo>
                  <a:pt x="10533" y="2424"/>
                </a:lnTo>
                <a:lnTo>
                  <a:pt x="10340" y="1616"/>
                </a:lnTo>
                <a:lnTo>
                  <a:pt x="10146" y="808"/>
                </a:lnTo>
                <a:lnTo>
                  <a:pt x="9953" y="0"/>
                </a:lnTo>
                <a:lnTo>
                  <a:pt x="9977" y="0"/>
                </a:lnTo>
                <a:lnTo>
                  <a:pt x="10169" y="802"/>
                </a:lnTo>
                <a:lnTo>
                  <a:pt x="10361" y="1604"/>
                </a:lnTo>
                <a:lnTo>
                  <a:pt x="10553" y="2406"/>
                </a:lnTo>
                <a:lnTo>
                  <a:pt x="10746" y="3209"/>
                </a:lnTo>
                <a:lnTo>
                  <a:pt x="10938" y="4011"/>
                </a:lnTo>
                <a:lnTo>
                  <a:pt x="11132" y="4813"/>
                </a:lnTo>
                <a:lnTo>
                  <a:pt x="11324" y="5615"/>
                </a:lnTo>
                <a:lnTo>
                  <a:pt x="11517" y="6419"/>
                </a:lnTo>
                <a:lnTo>
                  <a:pt x="11706" y="5615"/>
                </a:lnTo>
                <a:lnTo>
                  <a:pt x="11896" y="4813"/>
                </a:lnTo>
                <a:lnTo>
                  <a:pt x="12087" y="4011"/>
                </a:lnTo>
                <a:lnTo>
                  <a:pt x="12277" y="3209"/>
                </a:lnTo>
                <a:lnTo>
                  <a:pt x="12466" y="2406"/>
                </a:lnTo>
                <a:lnTo>
                  <a:pt x="12657" y="1604"/>
                </a:lnTo>
                <a:lnTo>
                  <a:pt x="12847" y="802"/>
                </a:lnTo>
                <a:lnTo>
                  <a:pt x="13038" y="0"/>
                </a:lnTo>
                <a:close/>
                <a:moveTo>
                  <a:pt x="8137" y="6495"/>
                </a:moveTo>
                <a:lnTo>
                  <a:pt x="8132" y="6471"/>
                </a:lnTo>
                <a:lnTo>
                  <a:pt x="8138" y="6446"/>
                </a:lnTo>
                <a:lnTo>
                  <a:pt x="8126" y="6446"/>
                </a:lnTo>
                <a:lnTo>
                  <a:pt x="8132" y="6470"/>
                </a:lnTo>
                <a:lnTo>
                  <a:pt x="8126" y="6495"/>
                </a:lnTo>
                <a:lnTo>
                  <a:pt x="8137" y="6495"/>
                </a:lnTo>
                <a:close/>
                <a:moveTo>
                  <a:pt x="9653" y="0"/>
                </a:moveTo>
                <a:lnTo>
                  <a:pt x="9677" y="0"/>
                </a:lnTo>
                <a:lnTo>
                  <a:pt x="9485" y="808"/>
                </a:lnTo>
                <a:lnTo>
                  <a:pt x="9293" y="1618"/>
                </a:lnTo>
                <a:lnTo>
                  <a:pt x="9101" y="2426"/>
                </a:lnTo>
                <a:lnTo>
                  <a:pt x="8911" y="3236"/>
                </a:lnTo>
                <a:lnTo>
                  <a:pt x="8719" y="4044"/>
                </a:lnTo>
                <a:lnTo>
                  <a:pt x="8527" y="4853"/>
                </a:lnTo>
                <a:lnTo>
                  <a:pt x="8335" y="5661"/>
                </a:lnTo>
                <a:lnTo>
                  <a:pt x="8144" y="6471"/>
                </a:lnTo>
                <a:lnTo>
                  <a:pt x="8338" y="7281"/>
                </a:lnTo>
                <a:lnTo>
                  <a:pt x="8533" y="8090"/>
                </a:lnTo>
                <a:lnTo>
                  <a:pt x="8726" y="8900"/>
                </a:lnTo>
                <a:lnTo>
                  <a:pt x="8921" y="9710"/>
                </a:lnTo>
                <a:lnTo>
                  <a:pt x="9115" y="10519"/>
                </a:lnTo>
                <a:lnTo>
                  <a:pt x="9310" y="11329"/>
                </a:lnTo>
                <a:lnTo>
                  <a:pt x="9503" y="12138"/>
                </a:lnTo>
                <a:lnTo>
                  <a:pt x="9698" y="12948"/>
                </a:lnTo>
                <a:lnTo>
                  <a:pt x="9674" y="12948"/>
                </a:lnTo>
                <a:lnTo>
                  <a:pt x="9481" y="12144"/>
                </a:lnTo>
                <a:lnTo>
                  <a:pt x="9289" y="11341"/>
                </a:lnTo>
                <a:lnTo>
                  <a:pt x="9095" y="10537"/>
                </a:lnTo>
                <a:lnTo>
                  <a:pt x="8903" y="9735"/>
                </a:lnTo>
                <a:lnTo>
                  <a:pt x="8710" y="8931"/>
                </a:lnTo>
                <a:lnTo>
                  <a:pt x="8518" y="8128"/>
                </a:lnTo>
                <a:lnTo>
                  <a:pt x="8324" y="7324"/>
                </a:lnTo>
                <a:lnTo>
                  <a:pt x="8132" y="6522"/>
                </a:lnTo>
                <a:lnTo>
                  <a:pt x="7942" y="7324"/>
                </a:lnTo>
                <a:lnTo>
                  <a:pt x="7751" y="8128"/>
                </a:lnTo>
                <a:lnTo>
                  <a:pt x="7561" y="8931"/>
                </a:lnTo>
                <a:lnTo>
                  <a:pt x="7371" y="9735"/>
                </a:lnTo>
                <a:lnTo>
                  <a:pt x="7180" y="10537"/>
                </a:lnTo>
                <a:lnTo>
                  <a:pt x="6990" y="11341"/>
                </a:lnTo>
                <a:lnTo>
                  <a:pt x="6799" y="12144"/>
                </a:lnTo>
                <a:lnTo>
                  <a:pt x="6609" y="12948"/>
                </a:lnTo>
                <a:lnTo>
                  <a:pt x="6585" y="12948"/>
                </a:lnTo>
                <a:lnTo>
                  <a:pt x="6775" y="12137"/>
                </a:lnTo>
                <a:lnTo>
                  <a:pt x="6967" y="11327"/>
                </a:lnTo>
                <a:lnTo>
                  <a:pt x="7159" y="10518"/>
                </a:lnTo>
                <a:lnTo>
                  <a:pt x="7351" y="9708"/>
                </a:lnTo>
                <a:lnTo>
                  <a:pt x="7543" y="8898"/>
                </a:lnTo>
                <a:lnTo>
                  <a:pt x="7735" y="8089"/>
                </a:lnTo>
                <a:lnTo>
                  <a:pt x="7927" y="7279"/>
                </a:lnTo>
                <a:lnTo>
                  <a:pt x="8119" y="6470"/>
                </a:lnTo>
                <a:lnTo>
                  <a:pt x="7924" y="5660"/>
                </a:lnTo>
                <a:lnTo>
                  <a:pt x="7730" y="4852"/>
                </a:lnTo>
                <a:lnTo>
                  <a:pt x="7536" y="4042"/>
                </a:lnTo>
                <a:lnTo>
                  <a:pt x="7342" y="3234"/>
                </a:lnTo>
                <a:lnTo>
                  <a:pt x="7147" y="2424"/>
                </a:lnTo>
                <a:lnTo>
                  <a:pt x="6954" y="1616"/>
                </a:lnTo>
                <a:lnTo>
                  <a:pt x="6760" y="808"/>
                </a:lnTo>
                <a:lnTo>
                  <a:pt x="6567" y="0"/>
                </a:lnTo>
                <a:lnTo>
                  <a:pt x="6592" y="0"/>
                </a:lnTo>
                <a:lnTo>
                  <a:pt x="6784" y="802"/>
                </a:lnTo>
                <a:lnTo>
                  <a:pt x="6976" y="1604"/>
                </a:lnTo>
                <a:lnTo>
                  <a:pt x="7168" y="2406"/>
                </a:lnTo>
                <a:lnTo>
                  <a:pt x="7362" y="3209"/>
                </a:lnTo>
                <a:lnTo>
                  <a:pt x="7554" y="4011"/>
                </a:lnTo>
                <a:lnTo>
                  <a:pt x="7747" y="4813"/>
                </a:lnTo>
                <a:lnTo>
                  <a:pt x="7939" y="5615"/>
                </a:lnTo>
                <a:lnTo>
                  <a:pt x="8132" y="6419"/>
                </a:lnTo>
                <a:lnTo>
                  <a:pt x="8321" y="5615"/>
                </a:lnTo>
                <a:lnTo>
                  <a:pt x="8512" y="4813"/>
                </a:lnTo>
                <a:lnTo>
                  <a:pt x="8702" y="4011"/>
                </a:lnTo>
                <a:lnTo>
                  <a:pt x="8893" y="3209"/>
                </a:lnTo>
                <a:lnTo>
                  <a:pt x="9082" y="2406"/>
                </a:lnTo>
                <a:lnTo>
                  <a:pt x="9272" y="1604"/>
                </a:lnTo>
                <a:lnTo>
                  <a:pt x="9463" y="802"/>
                </a:lnTo>
                <a:lnTo>
                  <a:pt x="9653" y="0"/>
                </a:lnTo>
                <a:close/>
                <a:moveTo>
                  <a:pt x="4752" y="6495"/>
                </a:moveTo>
                <a:lnTo>
                  <a:pt x="4746" y="6471"/>
                </a:lnTo>
                <a:lnTo>
                  <a:pt x="4752" y="6446"/>
                </a:lnTo>
                <a:lnTo>
                  <a:pt x="4740" y="6446"/>
                </a:lnTo>
                <a:lnTo>
                  <a:pt x="4746" y="6470"/>
                </a:lnTo>
                <a:lnTo>
                  <a:pt x="4740" y="6495"/>
                </a:lnTo>
                <a:lnTo>
                  <a:pt x="4752" y="6495"/>
                </a:lnTo>
                <a:close/>
                <a:moveTo>
                  <a:pt x="6267" y="0"/>
                </a:moveTo>
                <a:lnTo>
                  <a:pt x="6292" y="0"/>
                </a:lnTo>
                <a:lnTo>
                  <a:pt x="6100" y="808"/>
                </a:lnTo>
                <a:lnTo>
                  <a:pt x="5908" y="1618"/>
                </a:lnTo>
                <a:lnTo>
                  <a:pt x="5717" y="2426"/>
                </a:lnTo>
                <a:lnTo>
                  <a:pt x="5525" y="3236"/>
                </a:lnTo>
                <a:lnTo>
                  <a:pt x="5333" y="4044"/>
                </a:lnTo>
                <a:lnTo>
                  <a:pt x="5141" y="4853"/>
                </a:lnTo>
                <a:lnTo>
                  <a:pt x="4949" y="5661"/>
                </a:lnTo>
                <a:lnTo>
                  <a:pt x="4758" y="6471"/>
                </a:lnTo>
                <a:lnTo>
                  <a:pt x="4952" y="7281"/>
                </a:lnTo>
                <a:lnTo>
                  <a:pt x="5147" y="8090"/>
                </a:lnTo>
                <a:lnTo>
                  <a:pt x="5340" y="8900"/>
                </a:lnTo>
                <a:lnTo>
                  <a:pt x="5535" y="9710"/>
                </a:lnTo>
                <a:lnTo>
                  <a:pt x="5729" y="10519"/>
                </a:lnTo>
                <a:lnTo>
                  <a:pt x="5923" y="11329"/>
                </a:lnTo>
                <a:lnTo>
                  <a:pt x="6118" y="12138"/>
                </a:lnTo>
                <a:lnTo>
                  <a:pt x="6313" y="12948"/>
                </a:lnTo>
                <a:lnTo>
                  <a:pt x="6288" y="12948"/>
                </a:lnTo>
                <a:lnTo>
                  <a:pt x="6094" y="12144"/>
                </a:lnTo>
                <a:lnTo>
                  <a:pt x="5902" y="11341"/>
                </a:lnTo>
                <a:lnTo>
                  <a:pt x="5709" y="10537"/>
                </a:lnTo>
                <a:lnTo>
                  <a:pt x="5517" y="9735"/>
                </a:lnTo>
                <a:lnTo>
                  <a:pt x="5324" y="8931"/>
                </a:lnTo>
                <a:lnTo>
                  <a:pt x="5132" y="8128"/>
                </a:lnTo>
                <a:lnTo>
                  <a:pt x="4938" y="7324"/>
                </a:lnTo>
                <a:lnTo>
                  <a:pt x="4746" y="6522"/>
                </a:lnTo>
                <a:lnTo>
                  <a:pt x="4556" y="7324"/>
                </a:lnTo>
                <a:lnTo>
                  <a:pt x="4365" y="8128"/>
                </a:lnTo>
                <a:lnTo>
                  <a:pt x="4175" y="8931"/>
                </a:lnTo>
                <a:lnTo>
                  <a:pt x="3984" y="9735"/>
                </a:lnTo>
                <a:lnTo>
                  <a:pt x="3794" y="10537"/>
                </a:lnTo>
                <a:lnTo>
                  <a:pt x="3604" y="11341"/>
                </a:lnTo>
                <a:lnTo>
                  <a:pt x="3413" y="12144"/>
                </a:lnTo>
                <a:lnTo>
                  <a:pt x="3224" y="12948"/>
                </a:lnTo>
                <a:lnTo>
                  <a:pt x="3199" y="12948"/>
                </a:lnTo>
                <a:lnTo>
                  <a:pt x="3391" y="12137"/>
                </a:lnTo>
                <a:lnTo>
                  <a:pt x="3583" y="11327"/>
                </a:lnTo>
                <a:lnTo>
                  <a:pt x="3775" y="10518"/>
                </a:lnTo>
                <a:lnTo>
                  <a:pt x="3966" y="9708"/>
                </a:lnTo>
                <a:lnTo>
                  <a:pt x="4158" y="8898"/>
                </a:lnTo>
                <a:lnTo>
                  <a:pt x="4350" y="8089"/>
                </a:lnTo>
                <a:lnTo>
                  <a:pt x="4542" y="7279"/>
                </a:lnTo>
                <a:lnTo>
                  <a:pt x="4734" y="6470"/>
                </a:lnTo>
                <a:lnTo>
                  <a:pt x="4539" y="5660"/>
                </a:lnTo>
                <a:lnTo>
                  <a:pt x="4346" y="4852"/>
                </a:lnTo>
                <a:lnTo>
                  <a:pt x="4151" y="4042"/>
                </a:lnTo>
                <a:lnTo>
                  <a:pt x="3957" y="3234"/>
                </a:lnTo>
                <a:lnTo>
                  <a:pt x="3763" y="2424"/>
                </a:lnTo>
                <a:lnTo>
                  <a:pt x="3569" y="1616"/>
                </a:lnTo>
                <a:lnTo>
                  <a:pt x="3376" y="808"/>
                </a:lnTo>
                <a:lnTo>
                  <a:pt x="3182" y="0"/>
                </a:lnTo>
                <a:lnTo>
                  <a:pt x="3206" y="0"/>
                </a:lnTo>
                <a:lnTo>
                  <a:pt x="3398" y="802"/>
                </a:lnTo>
                <a:lnTo>
                  <a:pt x="3590" y="1604"/>
                </a:lnTo>
                <a:lnTo>
                  <a:pt x="3782" y="2406"/>
                </a:lnTo>
                <a:lnTo>
                  <a:pt x="3975" y="3209"/>
                </a:lnTo>
                <a:lnTo>
                  <a:pt x="4167" y="4011"/>
                </a:lnTo>
                <a:lnTo>
                  <a:pt x="4361" y="4813"/>
                </a:lnTo>
                <a:lnTo>
                  <a:pt x="4553" y="5615"/>
                </a:lnTo>
                <a:lnTo>
                  <a:pt x="4746" y="6419"/>
                </a:lnTo>
                <a:lnTo>
                  <a:pt x="4935" y="5615"/>
                </a:lnTo>
                <a:lnTo>
                  <a:pt x="5126" y="4813"/>
                </a:lnTo>
                <a:lnTo>
                  <a:pt x="5316" y="4011"/>
                </a:lnTo>
                <a:lnTo>
                  <a:pt x="5507" y="3209"/>
                </a:lnTo>
                <a:lnTo>
                  <a:pt x="5696" y="2406"/>
                </a:lnTo>
                <a:lnTo>
                  <a:pt x="5886" y="1604"/>
                </a:lnTo>
                <a:lnTo>
                  <a:pt x="6076" y="802"/>
                </a:lnTo>
                <a:lnTo>
                  <a:pt x="6267" y="0"/>
                </a:lnTo>
                <a:close/>
              </a:path>
            </a:pathLst>
          </a:custGeom>
          <a:solidFill>
            <a:srgbClr val="B1059D">
              <a:alpha val="40000"/>
            </a:srgbClr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827" y="2492376"/>
            <a:ext cx="9214104" cy="3384551"/>
          </a:xfrm>
          <a:noFill/>
        </p:spPr>
        <p:txBody>
          <a:bodyPr lIns="36000" tIns="36000" rIns="36000" bIns="36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266620" indent="-266620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4FD301-D232-7245-B96A-D5124D4FF448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32A62-499F-41D5-833C-F13F18147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2A034530-CDBD-85EC-B0A7-762EFDCBABC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3780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duction 3r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>
            <a:extLst>
              <a:ext uri="{FF2B5EF4-FFF2-40B4-BE49-F238E27FC236}">
                <a16:creationId xmlns:a16="http://schemas.microsoft.com/office/drawing/2014/main" id="{D2BDB09F-4FD7-43E3-A437-4C35A5DC1FE2}"/>
              </a:ext>
            </a:extLst>
          </p:cNvPr>
          <p:cNvSpPr>
            <a:spLocks noEditPoints="1"/>
          </p:cNvSpPr>
          <p:nvPr/>
        </p:nvSpPr>
        <p:spPr bwMode="auto">
          <a:xfrm>
            <a:off x="0" y="7938"/>
            <a:ext cx="12192000" cy="6842125"/>
          </a:xfrm>
          <a:custGeom>
            <a:avLst/>
            <a:gdLst>
              <a:gd name="T0" fmla="*/ 15364 w 15364"/>
              <a:gd name="T1" fmla="*/ 1125 h 12930"/>
              <a:gd name="T2" fmla="*/ 13391 w 15364"/>
              <a:gd name="T3" fmla="*/ 1550 h 12930"/>
              <a:gd name="T4" fmla="*/ 13391 w 15364"/>
              <a:gd name="T5" fmla="*/ 5426 h 12930"/>
              <a:gd name="T6" fmla="*/ 12282 w 15364"/>
              <a:gd name="T7" fmla="*/ 3101 h 12930"/>
              <a:gd name="T8" fmla="*/ 10388 w 15364"/>
              <a:gd name="T9" fmla="*/ 0 h 12930"/>
              <a:gd name="T10" fmla="*/ 9603 w 15364"/>
              <a:gd name="T11" fmla="*/ 3101 h 12930"/>
              <a:gd name="T12" fmla="*/ 9324 w 15364"/>
              <a:gd name="T13" fmla="*/ 5426 h 12930"/>
              <a:gd name="T14" fmla="*/ 7937 w 15364"/>
              <a:gd name="T15" fmla="*/ 1550 h 12930"/>
              <a:gd name="T16" fmla="*/ 5814 w 15364"/>
              <a:gd name="T17" fmla="*/ 775 h 12930"/>
              <a:gd name="T18" fmla="*/ 5814 w 15364"/>
              <a:gd name="T19" fmla="*/ 4651 h 12930"/>
              <a:gd name="T20" fmla="*/ 4980 w 15364"/>
              <a:gd name="T21" fmla="*/ 3876 h 12930"/>
              <a:gd name="T22" fmla="*/ 3594 w 15364"/>
              <a:gd name="T23" fmla="*/ 0 h 12930"/>
              <a:gd name="T24" fmla="*/ 2025 w 15364"/>
              <a:gd name="T25" fmla="*/ 2326 h 12930"/>
              <a:gd name="T26" fmla="*/ 2025 w 15364"/>
              <a:gd name="T27" fmla="*/ 6202 h 12930"/>
              <a:gd name="T28" fmla="*/ 759 w 15364"/>
              <a:gd name="T29" fmla="*/ 2665 h 12930"/>
              <a:gd name="T30" fmla="*/ 0 w 15364"/>
              <a:gd name="T31" fmla="*/ 1781 h 12930"/>
              <a:gd name="T32" fmla="*/ 925 w 15364"/>
              <a:gd name="T33" fmla="*/ 5603 h 12930"/>
              <a:gd name="T34" fmla="*/ 1234 w 15364"/>
              <a:gd name="T35" fmla="*/ 9566 h 12930"/>
              <a:gd name="T36" fmla="*/ 925 w 15364"/>
              <a:gd name="T37" fmla="*/ 11805 h 12930"/>
              <a:gd name="T38" fmla="*/ 0 w 15364"/>
              <a:gd name="T39" fmla="*/ 10453 h 12930"/>
              <a:gd name="T40" fmla="*/ 1228 w 15364"/>
              <a:gd name="T41" fmla="*/ 12930 h 12930"/>
              <a:gd name="T42" fmla="*/ 2014 w 15364"/>
              <a:gd name="T43" fmla="*/ 9829 h 12930"/>
              <a:gd name="T44" fmla="*/ 2291 w 15364"/>
              <a:gd name="T45" fmla="*/ 7504 h 12930"/>
              <a:gd name="T46" fmla="*/ 3678 w 15364"/>
              <a:gd name="T47" fmla="*/ 11380 h 12930"/>
              <a:gd name="T48" fmla="*/ 5803 w 15364"/>
              <a:gd name="T49" fmla="*/ 12155 h 12930"/>
              <a:gd name="T50" fmla="*/ 5803 w 15364"/>
              <a:gd name="T51" fmla="*/ 8279 h 12930"/>
              <a:gd name="T52" fmla="*/ 6634 w 15364"/>
              <a:gd name="T53" fmla="*/ 9054 h 12930"/>
              <a:gd name="T54" fmla="*/ 8022 w 15364"/>
              <a:gd name="T55" fmla="*/ 12930 h 12930"/>
              <a:gd name="T56" fmla="*/ 9592 w 15364"/>
              <a:gd name="T57" fmla="*/ 10604 h 12930"/>
              <a:gd name="T58" fmla="*/ 9592 w 15364"/>
              <a:gd name="T59" fmla="*/ 6728 h 12930"/>
              <a:gd name="T60" fmla="*/ 10979 w 15364"/>
              <a:gd name="T61" fmla="*/ 10604 h 12930"/>
              <a:gd name="T62" fmla="*/ 13381 w 15364"/>
              <a:gd name="T63" fmla="*/ 12930 h 12930"/>
              <a:gd name="T64" fmla="*/ 13381 w 15364"/>
              <a:gd name="T65" fmla="*/ 9054 h 12930"/>
              <a:gd name="T66" fmla="*/ 13877 w 15364"/>
              <a:gd name="T67" fmla="*/ 8113 h 12930"/>
              <a:gd name="T68" fmla="*/ 15116 w 15364"/>
              <a:gd name="T69" fmla="*/ 11577 h 12930"/>
              <a:gd name="T70" fmla="*/ 15364 w 15364"/>
              <a:gd name="T71" fmla="*/ 9798 h 12930"/>
              <a:gd name="T72" fmla="*/ 14172 w 15364"/>
              <a:gd name="T73" fmla="*/ 5690 h 12930"/>
              <a:gd name="T74" fmla="*/ 14172 w 15364"/>
              <a:gd name="T75" fmla="*/ 1814 h 12930"/>
              <a:gd name="T76" fmla="*/ 15066 w 15364"/>
              <a:gd name="T77" fmla="*/ 2763 h 12930"/>
              <a:gd name="T78" fmla="*/ 4190 w 15364"/>
              <a:gd name="T79" fmla="*/ 10341 h 12930"/>
              <a:gd name="T80" fmla="*/ 2804 w 15364"/>
              <a:gd name="T81" fmla="*/ 6465 h 12930"/>
              <a:gd name="T82" fmla="*/ 2804 w 15364"/>
              <a:gd name="T83" fmla="*/ 2589 h 12930"/>
              <a:gd name="T84" fmla="*/ 3358 w 15364"/>
              <a:gd name="T85" fmla="*/ 1814 h 12930"/>
              <a:gd name="T86" fmla="*/ 4745 w 15364"/>
              <a:gd name="T87" fmla="*/ 5690 h 12930"/>
              <a:gd name="T88" fmla="*/ 5023 w 15364"/>
              <a:gd name="T89" fmla="*/ 9566 h 12930"/>
              <a:gd name="T90" fmla="*/ 8812 w 15364"/>
              <a:gd name="T91" fmla="*/ 6465 h 12930"/>
              <a:gd name="T92" fmla="*/ 8812 w 15364"/>
              <a:gd name="T93" fmla="*/ 10341 h 12930"/>
              <a:gd name="T94" fmla="*/ 8257 w 15364"/>
              <a:gd name="T95" fmla="*/ 11116 h 12930"/>
              <a:gd name="T96" fmla="*/ 6870 w 15364"/>
              <a:gd name="T97" fmla="*/ 7240 h 12930"/>
              <a:gd name="T98" fmla="*/ 6593 w 15364"/>
              <a:gd name="T99" fmla="*/ 3364 h 12930"/>
              <a:gd name="T100" fmla="*/ 6870 w 15364"/>
              <a:gd name="T101" fmla="*/ 1039 h 12930"/>
              <a:gd name="T102" fmla="*/ 8257 w 15364"/>
              <a:gd name="T103" fmla="*/ 4915 h 12930"/>
              <a:gd name="T104" fmla="*/ 12046 w 15364"/>
              <a:gd name="T105" fmla="*/ 11116 h 12930"/>
              <a:gd name="T106" fmla="*/ 10660 w 15364"/>
              <a:gd name="T107" fmla="*/ 7240 h 12930"/>
              <a:gd name="T108" fmla="*/ 10383 w 15364"/>
              <a:gd name="T109" fmla="*/ 3364 h 12930"/>
              <a:gd name="T110" fmla="*/ 10660 w 15364"/>
              <a:gd name="T111" fmla="*/ 1039 h 12930"/>
              <a:gd name="T112" fmla="*/ 12046 w 15364"/>
              <a:gd name="T113" fmla="*/ 4915 h 12930"/>
              <a:gd name="T114" fmla="*/ 12601 w 15364"/>
              <a:gd name="T115" fmla="*/ 8791 h 12930"/>
              <a:gd name="T116" fmla="*/ 12601 w 15364"/>
              <a:gd name="T117" fmla="*/ 12667 h 12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364" h="12930">
                <a:moveTo>
                  <a:pt x="15364" y="3596"/>
                </a:moveTo>
                <a:lnTo>
                  <a:pt x="15364" y="2978"/>
                </a:lnTo>
                <a:lnTo>
                  <a:pt x="15364" y="2360"/>
                </a:lnTo>
                <a:lnTo>
                  <a:pt x="15364" y="1742"/>
                </a:lnTo>
                <a:lnTo>
                  <a:pt x="15364" y="1125"/>
                </a:lnTo>
                <a:lnTo>
                  <a:pt x="14962" y="0"/>
                </a:lnTo>
                <a:lnTo>
                  <a:pt x="14177" y="0"/>
                </a:lnTo>
                <a:lnTo>
                  <a:pt x="13391" y="0"/>
                </a:lnTo>
                <a:lnTo>
                  <a:pt x="13391" y="775"/>
                </a:lnTo>
                <a:lnTo>
                  <a:pt x="13391" y="1550"/>
                </a:lnTo>
                <a:lnTo>
                  <a:pt x="13391" y="2326"/>
                </a:lnTo>
                <a:lnTo>
                  <a:pt x="13391" y="3101"/>
                </a:lnTo>
                <a:lnTo>
                  <a:pt x="13391" y="3876"/>
                </a:lnTo>
                <a:lnTo>
                  <a:pt x="13391" y="4651"/>
                </a:lnTo>
                <a:lnTo>
                  <a:pt x="13391" y="5426"/>
                </a:lnTo>
                <a:lnTo>
                  <a:pt x="13391" y="6202"/>
                </a:lnTo>
                <a:lnTo>
                  <a:pt x="13113" y="5426"/>
                </a:lnTo>
                <a:lnTo>
                  <a:pt x="12836" y="4651"/>
                </a:lnTo>
                <a:lnTo>
                  <a:pt x="12559" y="3876"/>
                </a:lnTo>
                <a:lnTo>
                  <a:pt x="12282" y="3101"/>
                </a:lnTo>
                <a:lnTo>
                  <a:pt x="12004" y="2326"/>
                </a:lnTo>
                <a:lnTo>
                  <a:pt x="11727" y="1550"/>
                </a:lnTo>
                <a:lnTo>
                  <a:pt x="11450" y="775"/>
                </a:lnTo>
                <a:lnTo>
                  <a:pt x="11173" y="0"/>
                </a:lnTo>
                <a:lnTo>
                  <a:pt x="10388" y="0"/>
                </a:lnTo>
                <a:lnTo>
                  <a:pt x="9603" y="0"/>
                </a:lnTo>
                <a:lnTo>
                  <a:pt x="9603" y="775"/>
                </a:lnTo>
                <a:lnTo>
                  <a:pt x="9603" y="1550"/>
                </a:lnTo>
                <a:lnTo>
                  <a:pt x="9603" y="2326"/>
                </a:lnTo>
                <a:lnTo>
                  <a:pt x="9603" y="3101"/>
                </a:lnTo>
                <a:lnTo>
                  <a:pt x="9603" y="3876"/>
                </a:lnTo>
                <a:lnTo>
                  <a:pt x="9603" y="4651"/>
                </a:lnTo>
                <a:lnTo>
                  <a:pt x="9603" y="5426"/>
                </a:lnTo>
                <a:lnTo>
                  <a:pt x="9603" y="6202"/>
                </a:lnTo>
                <a:lnTo>
                  <a:pt x="9324" y="5426"/>
                </a:lnTo>
                <a:lnTo>
                  <a:pt x="9047" y="4651"/>
                </a:lnTo>
                <a:lnTo>
                  <a:pt x="8769" y="3876"/>
                </a:lnTo>
                <a:lnTo>
                  <a:pt x="8492" y="3101"/>
                </a:lnTo>
                <a:lnTo>
                  <a:pt x="8214" y="2326"/>
                </a:lnTo>
                <a:lnTo>
                  <a:pt x="7937" y="1550"/>
                </a:lnTo>
                <a:lnTo>
                  <a:pt x="7660" y="775"/>
                </a:lnTo>
                <a:lnTo>
                  <a:pt x="7383" y="0"/>
                </a:lnTo>
                <a:lnTo>
                  <a:pt x="6598" y="0"/>
                </a:lnTo>
                <a:lnTo>
                  <a:pt x="5814" y="0"/>
                </a:lnTo>
                <a:lnTo>
                  <a:pt x="5814" y="775"/>
                </a:lnTo>
                <a:lnTo>
                  <a:pt x="5814" y="1550"/>
                </a:lnTo>
                <a:lnTo>
                  <a:pt x="5814" y="2326"/>
                </a:lnTo>
                <a:lnTo>
                  <a:pt x="5814" y="3101"/>
                </a:lnTo>
                <a:lnTo>
                  <a:pt x="5814" y="3876"/>
                </a:lnTo>
                <a:lnTo>
                  <a:pt x="5814" y="4651"/>
                </a:lnTo>
                <a:lnTo>
                  <a:pt x="5814" y="5426"/>
                </a:lnTo>
                <a:lnTo>
                  <a:pt x="5814" y="6202"/>
                </a:lnTo>
                <a:lnTo>
                  <a:pt x="5535" y="5426"/>
                </a:lnTo>
                <a:lnTo>
                  <a:pt x="5258" y="4651"/>
                </a:lnTo>
                <a:lnTo>
                  <a:pt x="4980" y="3876"/>
                </a:lnTo>
                <a:lnTo>
                  <a:pt x="4703" y="3101"/>
                </a:lnTo>
                <a:lnTo>
                  <a:pt x="4425" y="2326"/>
                </a:lnTo>
                <a:lnTo>
                  <a:pt x="4148" y="1550"/>
                </a:lnTo>
                <a:lnTo>
                  <a:pt x="3871" y="775"/>
                </a:lnTo>
                <a:lnTo>
                  <a:pt x="3594" y="0"/>
                </a:lnTo>
                <a:lnTo>
                  <a:pt x="2809" y="0"/>
                </a:lnTo>
                <a:lnTo>
                  <a:pt x="2025" y="0"/>
                </a:lnTo>
                <a:lnTo>
                  <a:pt x="2025" y="775"/>
                </a:lnTo>
                <a:lnTo>
                  <a:pt x="2025" y="1550"/>
                </a:lnTo>
                <a:lnTo>
                  <a:pt x="2025" y="2326"/>
                </a:lnTo>
                <a:lnTo>
                  <a:pt x="2025" y="3101"/>
                </a:lnTo>
                <a:lnTo>
                  <a:pt x="2025" y="3876"/>
                </a:lnTo>
                <a:lnTo>
                  <a:pt x="2025" y="4651"/>
                </a:lnTo>
                <a:lnTo>
                  <a:pt x="2025" y="5426"/>
                </a:lnTo>
                <a:lnTo>
                  <a:pt x="2025" y="6202"/>
                </a:lnTo>
                <a:lnTo>
                  <a:pt x="1771" y="5494"/>
                </a:lnTo>
                <a:lnTo>
                  <a:pt x="1518" y="4787"/>
                </a:lnTo>
                <a:lnTo>
                  <a:pt x="1265" y="4080"/>
                </a:lnTo>
                <a:lnTo>
                  <a:pt x="1012" y="3373"/>
                </a:lnTo>
                <a:lnTo>
                  <a:pt x="759" y="2665"/>
                </a:lnTo>
                <a:lnTo>
                  <a:pt x="506" y="1959"/>
                </a:lnTo>
                <a:lnTo>
                  <a:pt x="253" y="1251"/>
                </a:lnTo>
                <a:lnTo>
                  <a:pt x="0" y="545"/>
                </a:lnTo>
                <a:lnTo>
                  <a:pt x="0" y="1163"/>
                </a:lnTo>
                <a:lnTo>
                  <a:pt x="0" y="1781"/>
                </a:lnTo>
                <a:lnTo>
                  <a:pt x="0" y="2399"/>
                </a:lnTo>
                <a:lnTo>
                  <a:pt x="0" y="3017"/>
                </a:lnTo>
                <a:lnTo>
                  <a:pt x="308" y="3879"/>
                </a:lnTo>
                <a:lnTo>
                  <a:pt x="617" y="4741"/>
                </a:lnTo>
                <a:lnTo>
                  <a:pt x="925" y="5603"/>
                </a:lnTo>
                <a:lnTo>
                  <a:pt x="1234" y="6465"/>
                </a:lnTo>
                <a:lnTo>
                  <a:pt x="1234" y="7240"/>
                </a:lnTo>
                <a:lnTo>
                  <a:pt x="1234" y="8015"/>
                </a:lnTo>
                <a:lnTo>
                  <a:pt x="1234" y="8791"/>
                </a:lnTo>
                <a:lnTo>
                  <a:pt x="1234" y="9566"/>
                </a:lnTo>
                <a:lnTo>
                  <a:pt x="1234" y="10341"/>
                </a:lnTo>
                <a:lnTo>
                  <a:pt x="1234" y="11116"/>
                </a:lnTo>
                <a:lnTo>
                  <a:pt x="1234" y="11891"/>
                </a:lnTo>
                <a:lnTo>
                  <a:pt x="1234" y="12667"/>
                </a:lnTo>
                <a:lnTo>
                  <a:pt x="925" y="11805"/>
                </a:lnTo>
                <a:lnTo>
                  <a:pt x="617" y="10943"/>
                </a:lnTo>
                <a:lnTo>
                  <a:pt x="308" y="10081"/>
                </a:lnTo>
                <a:lnTo>
                  <a:pt x="0" y="9219"/>
                </a:lnTo>
                <a:lnTo>
                  <a:pt x="0" y="9835"/>
                </a:lnTo>
                <a:lnTo>
                  <a:pt x="0" y="10453"/>
                </a:lnTo>
                <a:lnTo>
                  <a:pt x="0" y="11071"/>
                </a:lnTo>
                <a:lnTo>
                  <a:pt x="0" y="11689"/>
                </a:lnTo>
                <a:lnTo>
                  <a:pt x="222" y="12309"/>
                </a:lnTo>
                <a:lnTo>
                  <a:pt x="444" y="12930"/>
                </a:lnTo>
                <a:lnTo>
                  <a:pt x="1228" y="12930"/>
                </a:lnTo>
                <a:lnTo>
                  <a:pt x="2014" y="12930"/>
                </a:lnTo>
                <a:lnTo>
                  <a:pt x="2014" y="12155"/>
                </a:lnTo>
                <a:lnTo>
                  <a:pt x="2014" y="11380"/>
                </a:lnTo>
                <a:lnTo>
                  <a:pt x="2014" y="10604"/>
                </a:lnTo>
                <a:lnTo>
                  <a:pt x="2014" y="9829"/>
                </a:lnTo>
                <a:lnTo>
                  <a:pt x="2014" y="9054"/>
                </a:lnTo>
                <a:lnTo>
                  <a:pt x="2014" y="8279"/>
                </a:lnTo>
                <a:lnTo>
                  <a:pt x="2014" y="7504"/>
                </a:lnTo>
                <a:lnTo>
                  <a:pt x="2014" y="6728"/>
                </a:lnTo>
                <a:lnTo>
                  <a:pt x="2291" y="7504"/>
                </a:lnTo>
                <a:lnTo>
                  <a:pt x="2568" y="8279"/>
                </a:lnTo>
                <a:lnTo>
                  <a:pt x="2845" y="9054"/>
                </a:lnTo>
                <a:lnTo>
                  <a:pt x="3123" y="9829"/>
                </a:lnTo>
                <a:lnTo>
                  <a:pt x="3400" y="10604"/>
                </a:lnTo>
                <a:lnTo>
                  <a:pt x="3678" y="11380"/>
                </a:lnTo>
                <a:lnTo>
                  <a:pt x="3955" y="12155"/>
                </a:lnTo>
                <a:lnTo>
                  <a:pt x="4233" y="12930"/>
                </a:lnTo>
                <a:lnTo>
                  <a:pt x="5017" y="12930"/>
                </a:lnTo>
                <a:lnTo>
                  <a:pt x="5803" y="12930"/>
                </a:lnTo>
                <a:lnTo>
                  <a:pt x="5803" y="12155"/>
                </a:lnTo>
                <a:lnTo>
                  <a:pt x="5803" y="11380"/>
                </a:lnTo>
                <a:lnTo>
                  <a:pt x="5803" y="10604"/>
                </a:lnTo>
                <a:lnTo>
                  <a:pt x="5803" y="9829"/>
                </a:lnTo>
                <a:lnTo>
                  <a:pt x="5803" y="9054"/>
                </a:lnTo>
                <a:lnTo>
                  <a:pt x="5803" y="8279"/>
                </a:lnTo>
                <a:lnTo>
                  <a:pt x="5803" y="7504"/>
                </a:lnTo>
                <a:lnTo>
                  <a:pt x="5803" y="6728"/>
                </a:lnTo>
                <a:lnTo>
                  <a:pt x="6080" y="7504"/>
                </a:lnTo>
                <a:lnTo>
                  <a:pt x="6357" y="8279"/>
                </a:lnTo>
                <a:lnTo>
                  <a:pt x="6634" y="9054"/>
                </a:lnTo>
                <a:lnTo>
                  <a:pt x="6912" y="9829"/>
                </a:lnTo>
                <a:lnTo>
                  <a:pt x="7189" y="10604"/>
                </a:lnTo>
                <a:lnTo>
                  <a:pt x="7467" y="11380"/>
                </a:lnTo>
                <a:lnTo>
                  <a:pt x="7744" y="12155"/>
                </a:lnTo>
                <a:lnTo>
                  <a:pt x="8022" y="12930"/>
                </a:lnTo>
                <a:lnTo>
                  <a:pt x="8807" y="12930"/>
                </a:lnTo>
                <a:lnTo>
                  <a:pt x="9592" y="12930"/>
                </a:lnTo>
                <a:lnTo>
                  <a:pt x="9592" y="12155"/>
                </a:lnTo>
                <a:lnTo>
                  <a:pt x="9592" y="11380"/>
                </a:lnTo>
                <a:lnTo>
                  <a:pt x="9592" y="10604"/>
                </a:lnTo>
                <a:lnTo>
                  <a:pt x="9592" y="9829"/>
                </a:lnTo>
                <a:lnTo>
                  <a:pt x="9592" y="9054"/>
                </a:lnTo>
                <a:lnTo>
                  <a:pt x="9592" y="8279"/>
                </a:lnTo>
                <a:lnTo>
                  <a:pt x="9592" y="7504"/>
                </a:lnTo>
                <a:lnTo>
                  <a:pt x="9592" y="6728"/>
                </a:lnTo>
                <a:lnTo>
                  <a:pt x="9870" y="7504"/>
                </a:lnTo>
                <a:lnTo>
                  <a:pt x="10147" y="8279"/>
                </a:lnTo>
                <a:lnTo>
                  <a:pt x="10424" y="9054"/>
                </a:lnTo>
                <a:lnTo>
                  <a:pt x="10702" y="9829"/>
                </a:lnTo>
                <a:lnTo>
                  <a:pt x="10979" y="10604"/>
                </a:lnTo>
                <a:lnTo>
                  <a:pt x="11256" y="11380"/>
                </a:lnTo>
                <a:lnTo>
                  <a:pt x="11533" y="12155"/>
                </a:lnTo>
                <a:lnTo>
                  <a:pt x="11811" y="12930"/>
                </a:lnTo>
                <a:lnTo>
                  <a:pt x="12596" y="12930"/>
                </a:lnTo>
                <a:lnTo>
                  <a:pt x="13381" y="12930"/>
                </a:lnTo>
                <a:lnTo>
                  <a:pt x="13381" y="12155"/>
                </a:lnTo>
                <a:lnTo>
                  <a:pt x="13381" y="11380"/>
                </a:lnTo>
                <a:lnTo>
                  <a:pt x="13381" y="10604"/>
                </a:lnTo>
                <a:lnTo>
                  <a:pt x="13381" y="9829"/>
                </a:lnTo>
                <a:lnTo>
                  <a:pt x="13381" y="9054"/>
                </a:lnTo>
                <a:lnTo>
                  <a:pt x="13381" y="8279"/>
                </a:lnTo>
                <a:lnTo>
                  <a:pt x="13381" y="7504"/>
                </a:lnTo>
                <a:lnTo>
                  <a:pt x="13381" y="6728"/>
                </a:lnTo>
                <a:lnTo>
                  <a:pt x="13629" y="7420"/>
                </a:lnTo>
                <a:lnTo>
                  <a:pt x="13877" y="8113"/>
                </a:lnTo>
                <a:lnTo>
                  <a:pt x="14125" y="8806"/>
                </a:lnTo>
                <a:lnTo>
                  <a:pt x="14373" y="9498"/>
                </a:lnTo>
                <a:lnTo>
                  <a:pt x="14620" y="10191"/>
                </a:lnTo>
                <a:lnTo>
                  <a:pt x="14868" y="10884"/>
                </a:lnTo>
                <a:lnTo>
                  <a:pt x="15116" y="11577"/>
                </a:lnTo>
                <a:lnTo>
                  <a:pt x="15364" y="12270"/>
                </a:lnTo>
                <a:lnTo>
                  <a:pt x="15364" y="11652"/>
                </a:lnTo>
                <a:lnTo>
                  <a:pt x="15364" y="11034"/>
                </a:lnTo>
                <a:lnTo>
                  <a:pt x="15364" y="10416"/>
                </a:lnTo>
                <a:lnTo>
                  <a:pt x="15364" y="9798"/>
                </a:lnTo>
                <a:lnTo>
                  <a:pt x="15066" y="8964"/>
                </a:lnTo>
                <a:lnTo>
                  <a:pt x="14768" y="8131"/>
                </a:lnTo>
                <a:lnTo>
                  <a:pt x="14470" y="7297"/>
                </a:lnTo>
                <a:lnTo>
                  <a:pt x="14172" y="6465"/>
                </a:lnTo>
                <a:lnTo>
                  <a:pt x="14172" y="5690"/>
                </a:lnTo>
                <a:lnTo>
                  <a:pt x="14172" y="4915"/>
                </a:lnTo>
                <a:lnTo>
                  <a:pt x="14172" y="4139"/>
                </a:lnTo>
                <a:lnTo>
                  <a:pt x="14172" y="3364"/>
                </a:lnTo>
                <a:lnTo>
                  <a:pt x="14172" y="2589"/>
                </a:lnTo>
                <a:lnTo>
                  <a:pt x="14172" y="1814"/>
                </a:lnTo>
                <a:lnTo>
                  <a:pt x="14172" y="1039"/>
                </a:lnTo>
                <a:lnTo>
                  <a:pt x="14172" y="263"/>
                </a:lnTo>
                <a:lnTo>
                  <a:pt x="14470" y="1095"/>
                </a:lnTo>
                <a:lnTo>
                  <a:pt x="14768" y="1929"/>
                </a:lnTo>
                <a:lnTo>
                  <a:pt x="15066" y="2763"/>
                </a:lnTo>
                <a:lnTo>
                  <a:pt x="15364" y="3596"/>
                </a:lnTo>
                <a:close/>
                <a:moveTo>
                  <a:pt x="5023" y="12667"/>
                </a:moveTo>
                <a:lnTo>
                  <a:pt x="4745" y="11891"/>
                </a:lnTo>
                <a:lnTo>
                  <a:pt x="4468" y="11116"/>
                </a:lnTo>
                <a:lnTo>
                  <a:pt x="4190" y="10341"/>
                </a:lnTo>
                <a:lnTo>
                  <a:pt x="3913" y="9566"/>
                </a:lnTo>
                <a:lnTo>
                  <a:pt x="3635" y="8791"/>
                </a:lnTo>
                <a:lnTo>
                  <a:pt x="3358" y="8015"/>
                </a:lnTo>
                <a:lnTo>
                  <a:pt x="3081" y="7240"/>
                </a:lnTo>
                <a:lnTo>
                  <a:pt x="2804" y="6465"/>
                </a:lnTo>
                <a:lnTo>
                  <a:pt x="2804" y="5690"/>
                </a:lnTo>
                <a:lnTo>
                  <a:pt x="2804" y="4915"/>
                </a:lnTo>
                <a:lnTo>
                  <a:pt x="2804" y="4139"/>
                </a:lnTo>
                <a:lnTo>
                  <a:pt x="2804" y="3364"/>
                </a:lnTo>
                <a:lnTo>
                  <a:pt x="2804" y="2589"/>
                </a:lnTo>
                <a:lnTo>
                  <a:pt x="2804" y="1814"/>
                </a:lnTo>
                <a:lnTo>
                  <a:pt x="2804" y="1039"/>
                </a:lnTo>
                <a:lnTo>
                  <a:pt x="2804" y="263"/>
                </a:lnTo>
                <a:lnTo>
                  <a:pt x="3081" y="1039"/>
                </a:lnTo>
                <a:lnTo>
                  <a:pt x="3358" y="1814"/>
                </a:lnTo>
                <a:lnTo>
                  <a:pt x="3635" y="2589"/>
                </a:lnTo>
                <a:lnTo>
                  <a:pt x="3913" y="3364"/>
                </a:lnTo>
                <a:lnTo>
                  <a:pt x="4190" y="4139"/>
                </a:lnTo>
                <a:lnTo>
                  <a:pt x="4468" y="4915"/>
                </a:lnTo>
                <a:lnTo>
                  <a:pt x="4745" y="5690"/>
                </a:lnTo>
                <a:lnTo>
                  <a:pt x="5023" y="6465"/>
                </a:lnTo>
                <a:lnTo>
                  <a:pt x="5023" y="7240"/>
                </a:lnTo>
                <a:lnTo>
                  <a:pt x="5023" y="8015"/>
                </a:lnTo>
                <a:lnTo>
                  <a:pt x="5023" y="8791"/>
                </a:lnTo>
                <a:lnTo>
                  <a:pt x="5023" y="9566"/>
                </a:lnTo>
                <a:lnTo>
                  <a:pt x="5023" y="10341"/>
                </a:lnTo>
                <a:lnTo>
                  <a:pt x="5023" y="11116"/>
                </a:lnTo>
                <a:lnTo>
                  <a:pt x="5023" y="11891"/>
                </a:lnTo>
                <a:lnTo>
                  <a:pt x="5023" y="12667"/>
                </a:lnTo>
                <a:close/>
                <a:moveTo>
                  <a:pt x="8812" y="6465"/>
                </a:moveTo>
                <a:lnTo>
                  <a:pt x="8812" y="7240"/>
                </a:lnTo>
                <a:lnTo>
                  <a:pt x="8812" y="8015"/>
                </a:lnTo>
                <a:lnTo>
                  <a:pt x="8812" y="8791"/>
                </a:lnTo>
                <a:lnTo>
                  <a:pt x="8812" y="9566"/>
                </a:lnTo>
                <a:lnTo>
                  <a:pt x="8812" y="10341"/>
                </a:lnTo>
                <a:lnTo>
                  <a:pt x="8812" y="11116"/>
                </a:lnTo>
                <a:lnTo>
                  <a:pt x="8812" y="11891"/>
                </a:lnTo>
                <a:lnTo>
                  <a:pt x="8812" y="12667"/>
                </a:lnTo>
                <a:lnTo>
                  <a:pt x="8534" y="11891"/>
                </a:lnTo>
                <a:lnTo>
                  <a:pt x="8257" y="11116"/>
                </a:lnTo>
                <a:lnTo>
                  <a:pt x="7979" y="10341"/>
                </a:lnTo>
                <a:lnTo>
                  <a:pt x="7702" y="9566"/>
                </a:lnTo>
                <a:lnTo>
                  <a:pt x="7424" y="8791"/>
                </a:lnTo>
                <a:lnTo>
                  <a:pt x="7147" y="8015"/>
                </a:lnTo>
                <a:lnTo>
                  <a:pt x="6870" y="7240"/>
                </a:lnTo>
                <a:lnTo>
                  <a:pt x="6593" y="6465"/>
                </a:lnTo>
                <a:lnTo>
                  <a:pt x="6593" y="5690"/>
                </a:lnTo>
                <a:lnTo>
                  <a:pt x="6593" y="4915"/>
                </a:lnTo>
                <a:lnTo>
                  <a:pt x="6593" y="4139"/>
                </a:lnTo>
                <a:lnTo>
                  <a:pt x="6593" y="3364"/>
                </a:lnTo>
                <a:lnTo>
                  <a:pt x="6593" y="2589"/>
                </a:lnTo>
                <a:lnTo>
                  <a:pt x="6593" y="1814"/>
                </a:lnTo>
                <a:lnTo>
                  <a:pt x="6593" y="1039"/>
                </a:lnTo>
                <a:lnTo>
                  <a:pt x="6593" y="263"/>
                </a:lnTo>
                <a:lnTo>
                  <a:pt x="6870" y="1039"/>
                </a:lnTo>
                <a:lnTo>
                  <a:pt x="7147" y="1814"/>
                </a:lnTo>
                <a:lnTo>
                  <a:pt x="7424" y="2589"/>
                </a:lnTo>
                <a:lnTo>
                  <a:pt x="7702" y="3364"/>
                </a:lnTo>
                <a:lnTo>
                  <a:pt x="7979" y="4139"/>
                </a:lnTo>
                <a:lnTo>
                  <a:pt x="8257" y="4915"/>
                </a:lnTo>
                <a:lnTo>
                  <a:pt x="8534" y="5690"/>
                </a:lnTo>
                <a:lnTo>
                  <a:pt x="8812" y="6465"/>
                </a:lnTo>
                <a:close/>
                <a:moveTo>
                  <a:pt x="12601" y="12667"/>
                </a:moveTo>
                <a:lnTo>
                  <a:pt x="12323" y="11891"/>
                </a:lnTo>
                <a:lnTo>
                  <a:pt x="12046" y="11116"/>
                </a:lnTo>
                <a:lnTo>
                  <a:pt x="11769" y="10341"/>
                </a:lnTo>
                <a:lnTo>
                  <a:pt x="11492" y="9566"/>
                </a:lnTo>
                <a:lnTo>
                  <a:pt x="11214" y="8791"/>
                </a:lnTo>
                <a:lnTo>
                  <a:pt x="10937" y="8015"/>
                </a:lnTo>
                <a:lnTo>
                  <a:pt x="10660" y="7240"/>
                </a:lnTo>
                <a:lnTo>
                  <a:pt x="10383" y="6465"/>
                </a:lnTo>
                <a:lnTo>
                  <a:pt x="10383" y="5690"/>
                </a:lnTo>
                <a:lnTo>
                  <a:pt x="10383" y="4915"/>
                </a:lnTo>
                <a:lnTo>
                  <a:pt x="10383" y="4139"/>
                </a:lnTo>
                <a:lnTo>
                  <a:pt x="10383" y="3364"/>
                </a:lnTo>
                <a:lnTo>
                  <a:pt x="10383" y="2589"/>
                </a:lnTo>
                <a:lnTo>
                  <a:pt x="10383" y="1814"/>
                </a:lnTo>
                <a:lnTo>
                  <a:pt x="10383" y="1039"/>
                </a:lnTo>
                <a:lnTo>
                  <a:pt x="10383" y="263"/>
                </a:lnTo>
                <a:lnTo>
                  <a:pt x="10660" y="1039"/>
                </a:lnTo>
                <a:lnTo>
                  <a:pt x="10937" y="1814"/>
                </a:lnTo>
                <a:lnTo>
                  <a:pt x="11214" y="2589"/>
                </a:lnTo>
                <a:lnTo>
                  <a:pt x="11492" y="3364"/>
                </a:lnTo>
                <a:lnTo>
                  <a:pt x="11769" y="4139"/>
                </a:lnTo>
                <a:lnTo>
                  <a:pt x="12046" y="4915"/>
                </a:lnTo>
                <a:lnTo>
                  <a:pt x="12323" y="5690"/>
                </a:lnTo>
                <a:lnTo>
                  <a:pt x="12601" y="6465"/>
                </a:lnTo>
                <a:lnTo>
                  <a:pt x="12601" y="7240"/>
                </a:lnTo>
                <a:lnTo>
                  <a:pt x="12601" y="8015"/>
                </a:lnTo>
                <a:lnTo>
                  <a:pt x="12601" y="8791"/>
                </a:lnTo>
                <a:lnTo>
                  <a:pt x="12601" y="9566"/>
                </a:lnTo>
                <a:lnTo>
                  <a:pt x="12601" y="10341"/>
                </a:lnTo>
                <a:lnTo>
                  <a:pt x="12601" y="11116"/>
                </a:lnTo>
                <a:lnTo>
                  <a:pt x="12601" y="11891"/>
                </a:lnTo>
                <a:lnTo>
                  <a:pt x="12601" y="12667"/>
                </a:lnTo>
                <a:close/>
              </a:path>
            </a:pathLst>
          </a:custGeom>
          <a:solidFill>
            <a:srgbClr val="A3009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827" y="2492376"/>
            <a:ext cx="9214104" cy="3384551"/>
          </a:xfrm>
          <a:noFill/>
        </p:spPr>
        <p:txBody>
          <a:bodyPr lIns="36000" tIns="36000" rIns="36000" bIns="36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266620" indent="-266620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170725-7759-7144-A54B-D633C80FC22D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32A62-499F-41D5-833C-F13F18147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1F9522E1-9AB3-9CA3-CCBF-FFEEB97FBFD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2222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roduction 4th">
    <p:bg>
      <p:bgPr>
        <a:solidFill>
          <a:srgbClr val="FFDB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>
            <a:extLst>
              <a:ext uri="{FF2B5EF4-FFF2-40B4-BE49-F238E27FC236}">
                <a16:creationId xmlns:a16="http://schemas.microsoft.com/office/drawing/2014/main" id="{D2BDB09F-4FD7-43E3-A437-4C35A5DC1FE2}"/>
              </a:ext>
            </a:extLst>
          </p:cNvPr>
          <p:cNvSpPr>
            <a:spLocks noEditPoints="1"/>
          </p:cNvSpPr>
          <p:nvPr/>
        </p:nvSpPr>
        <p:spPr bwMode="auto">
          <a:xfrm>
            <a:off x="0" y="7938"/>
            <a:ext cx="12192000" cy="6842125"/>
          </a:xfrm>
          <a:custGeom>
            <a:avLst/>
            <a:gdLst>
              <a:gd name="T0" fmla="*/ 15364 w 15364"/>
              <a:gd name="T1" fmla="*/ 1125 h 12930"/>
              <a:gd name="T2" fmla="*/ 13391 w 15364"/>
              <a:gd name="T3" fmla="*/ 1550 h 12930"/>
              <a:gd name="T4" fmla="*/ 13391 w 15364"/>
              <a:gd name="T5" fmla="*/ 5426 h 12930"/>
              <a:gd name="T6" fmla="*/ 12282 w 15364"/>
              <a:gd name="T7" fmla="*/ 3101 h 12930"/>
              <a:gd name="T8" fmla="*/ 10388 w 15364"/>
              <a:gd name="T9" fmla="*/ 0 h 12930"/>
              <a:gd name="T10" fmla="*/ 9603 w 15364"/>
              <a:gd name="T11" fmla="*/ 3101 h 12930"/>
              <a:gd name="T12" fmla="*/ 9324 w 15364"/>
              <a:gd name="T13" fmla="*/ 5426 h 12930"/>
              <a:gd name="T14" fmla="*/ 7937 w 15364"/>
              <a:gd name="T15" fmla="*/ 1550 h 12930"/>
              <a:gd name="T16" fmla="*/ 5814 w 15364"/>
              <a:gd name="T17" fmla="*/ 775 h 12930"/>
              <a:gd name="T18" fmla="*/ 5814 w 15364"/>
              <a:gd name="T19" fmla="*/ 4651 h 12930"/>
              <a:gd name="T20" fmla="*/ 4980 w 15364"/>
              <a:gd name="T21" fmla="*/ 3876 h 12930"/>
              <a:gd name="T22" fmla="*/ 3594 w 15364"/>
              <a:gd name="T23" fmla="*/ 0 h 12930"/>
              <a:gd name="T24" fmla="*/ 2025 w 15364"/>
              <a:gd name="T25" fmla="*/ 2326 h 12930"/>
              <a:gd name="T26" fmla="*/ 2025 w 15364"/>
              <a:gd name="T27" fmla="*/ 6202 h 12930"/>
              <a:gd name="T28" fmla="*/ 759 w 15364"/>
              <a:gd name="T29" fmla="*/ 2665 h 12930"/>
              <a:gd name="T30" fmla="*/ 0 w 15364"/>
              <a:gd name="T31" fmla="*/ 1781 h 12930"/>
              <a:gd name="T32" fmla="*/ 925 w 15364"/>
              <a:gd name="T33" fmla="*/ 5603 h 12930"/>
              <a:gd name="T34" fmla="*/ 1234 w 15364"/>
              <a:gd name="T35" fmla="*/ 9566 h 12930"/>
              <a:gd name="T36" fmla="*/ 925 w 15364"/>
              <a:gd name="T37" fmla="*/ 11805 h 12930"/>
              <a:gd name="T38" fmla="*/ 0 w 15364"/>
              <a:gd name="T39" fmla="*/ 10453 h 12930"/>
              <a:gd name="T40" fmla="*/ 1228 w 15364"/>
              <a:gd name="T41" fmla="*/ 12930 h 12930"/>
              <a:gd name="T42" fmla="*/ 2014 w 15364"/>
              <a:gd name="T43" fmla="*/ 9829 h 12930"/>
              <a:gd name="T44" fmla="*/ 2291 w 15364"/>
              <a:gd name="T45" fmla="*/ 7504 h 12930"/>
              <a:gd name="T46" fmla="*/ 3678 w 15364"/>
              <a:gd name="T47" fmla="*/ 11380 h 12930"/>
              <a:gd name="T48" fmla="*/ 5803 w 15364"/>
              <a:gd name="T49" fmla="*/ 12155 h 12930"/>
              <a:gd name="T50" fmla="*/ 5803 w 15364"/>
              <a:gd name="T51" fmla="*/ 8279 h 12930"/>
              <a:gd name="T52" fmla="*/ 6634 w 15364"/>
              <a:gd name="T53" fmla="*/ 9054 h 12930"/>
              <a:gd name="T54" fmla="*/ 8022 w 15364"/>
              <a:gd name="T55" fmla="*/ 12930 h 12930"/>
              <a:gd name="T56" fmla="*/ 9592 w 15364"/>
              <a:gd name="T57" fmla="*/ 10604 h 12930"/>
              <a:gd name="T58" fmla="*/ 9592 w 15364"/>
              <a:gd name="T59" fmla="*/ 6728 h 12930"/>
              <a:gd name="T60" fmla="*/ 10979 w 15364"/>
              <a:gd name="T61" fmla="*/ 10604 h 12930"/>
              <a:gd name="T62" fmla="*/ 13381 w 15364"/>
              <a:gd name="T63" fmla="*/ 12930 h 12930"/>
              <a:gd name="T64" fmla="*/ 13381 w 15364"/>
              <a:gd name="T65" fmla="*/ 9054 h 12930"/>
              <a:gd name="T66" fmla="*/ 13877 w 15364"/>
              <a:gd name="T67" fmla="*/ 8113 h 12930"/>
              <a:gd name="T68" fmla="*/ 15116 w 15364"/>
              <a:gd name="T69" fmla="*/ 11577 h 12930"/>
              <a:gd name="T70" fmla="*/ 15364 w 15364"/>
              <a:gd name="T71" fmla="*/ 9798 h 12930"/>
              <a:gd name="T72" fmla="*/ 14172 w 15364"/>
              <a:gd name="T73" fmla="*/ 5690 h 12930"/>
              <a:gd name="T74" fmla="*/ 14172 w 15364"/>
              <a:gd name="T75" fmla="*/ 1814 h 12930"/>
              <a:gd name="T76" fmla="*/ 15066 w 15364"/>
              <a:gd name="T77" fmla="*/ 2763 h 12930"/>
              <a:gd name="T78" fmla="*/ 4190 w 15364"/>
              <a:gd name="T79" fmla="*/ 10341 h 12930"/>
              <a:gd name="T80" fmla="*/ 2804 w 15364"/>
              <a:gd name="T81" fmla="*/ 6465 h 12930"/>
              <a:gd name="T82" fmla="*/ 2804 w 15364"/>
              <a:gd name="T83" fmla="*/ 2589 h 12930"/>
              <a:gd name="T84" fmla="*/ 3358 w 15364"/>
              <a:gd name="T85" fmla="*/ 1814 h 12930"/>
              <a:gd name="T86" fmla="*/ 4745 w 15364"/>
              <a:gd name="T87" fmla="*/ 5690 h 12930"/>
              <a:gd name="T88" fmla="*/ 5023 w 15364"/>
              <a:gd name="T89" fmla="*/ 9566 h 12930"/>
              <a:gd name="T90" fmla="*/ 8812 w 15364"/>
              <a:gd name="T91" fmla="*/ 6465 h 12930"/>
              <a:gd name="T92" fmla="*/ 8812 w 15364"/>
              <a:gd name="T93" fmla="*/ 10341 h 12930"/>
              <a:gd name="T94" fmla="*/ 8257 w 15364"/>
              <a:gd name="T95" fmla="*/ 11116 h 12930"/>
              <a:gd name="T96" fmla="*/ 6870 w 15364"/>
              <a:gd name="T97" fmla="*/ 7240 h 12930"/>
              <a:gd name="T98" fmla="*/ 6593 w 15364"/>
              <a:gd name="T99" fmla="*/ 3364 h 12930"/>
              <a:gd name="T100" fmla="*/ 6870 w 15364"/>
              <a:gd name="T101" fmla="*/ 1039 h 12930"/>
              <a:gd name="T102" fmla="*/ 8257 w 15364"/>
              <a:gd name="T103" fmla="*/ 4915 h 12930"/>
              <a:gd name="T104" fmla="*/ 12046 w 15364"/>
              <a:gd name="T105" fmla="*/ 11116 h 12930"/>
              <a:gd name="T106" fmla="*/ 10660 w 15364"/>
              <a:gd name="T107" fmla="*/ 7240 h 12930"/>
              <a:gd name="T108" fmla="*/ 10383 w 15364"/>
              <a:gd name="T109" fmla="*/ 3364 h 12930"/>
              <a:gd name="T110" fmla="*/ 10660 w 15364"/>
              <a:gd name="T111" fmla="*/ 1039 h 12930"/>
              <a:gd name="T112" fmla="*/ 12046 w 15364"/>
              <a:gd name="T113" fmla="*/ 4915 h 12930"/>
              <a:gd name="T114" fmla="*/ 12601 w 15364"/>
              <a:gd name="T115" fmla="*/ 8791 h 12930"/>
              <a:gd name="T116" fmla="*/ 12601 w 15364"/>
              <a:gd name="T117" fmla="*/ 12667 h 129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364" h="12930">
                <a:moveTo>
                  <a:pt x="15364" y="3596"/>
                </a:moveTo>
                <a:lnTo>
                  <a:pt x="15364" y="2978"/>
                </a:lnTo>
                <a:lnTo>
                  <a:pt x="15364" y="2360"/>
                </a:lnTo>
                <a:lnTo>
                  <a:pt x="15364" y="1742"/>
                </a:lnTo>
                <a:lnTo>
                  <a:pt x="15364" y="1125"/>
                </a:lnTo>
                <a:lnTo>
                  <a:pt x="14962" y="0"/>
                </a:lnTo>
                <a:lnTo>
                  <a:pt x="14177" y="0"/>
                </a:lnTo>
                <a:lnTo>
                  <a:pt x="13391" y="0"/>
                </a:lnTo>
                <a:lnTo>
                  <a:pt x="13391" y="775"/>
                </a:lnTo>
                <a:lnTo>
                  <a:pt x="13391" y="1550"/>
                </a:lnTo>
                <a:lnTo>
                  <a:pt x="13391" y="2326"/>
                </a:lnTo>
                <a:lnTo>
                  <a:pt x="13391" y="3101"/>
                </a:lnTo>
                <a:lnTo>
                  <a:pt x="13391" y="3876"/>
                </a:lnTo>
                <a:lnTo>
                  <a:pt x="13391" y="4651"/>
                </a:lnTo>
                <a:lnTo>
                  <a:pt x="13391" y="5426"/>
                </a:lnTo>
                <a:lnTo>
                  <a:pt x="13391" y="6202"/>
                </a:lnTo>
                <a:lnTo>
                  <a:pt x="13113" y="5426"/>
                </a:lnTo>
                <a:lnTo>
                  <a:pt x="12836" y="4651"/>
                </a:lnTo>
                <a:lnTo>
                  <a:pt x="12559" y="3876"/>
                </a:lnTo>
                <a:lnTo>
                  <a:pt x="12282" y="3101"/>
                </a:lnTo>
                <a:lnTo>
                  <a:pt x="12004" y="2326"/>
                </a:lnTo>
                <a:lnTo>
                  <a:pt x="11727" y="1550"/>
                </a:lnTo>
                <a:lnTo>
                  <a:pt x="11450" y="775"/>
                </a:lnTo>
                <a:lnTo>
                  <a:pt x="11173" y="0"/>
                </a:lnTo>
                <a:lnTo>
                  <a:pt x="10388" y="0"/>
                </a:lnTo>
                <a:lnTo>
                  <a:pt x="9603" y="0"/>
                </a:lnTo>
                <a:lnTo>
                  <a:pt x="9603" y="775"/>
                </a:lnTo>
                <a:lnTo>
                  <a:pt x="9603" y="1550"/>
                </a:lnTo>
                <a:lnTo>
                  <a:pt x="9603" y="2326"/>
                </a:lnTo>
                <a:lnTo>
                  <a:pt x="9603" y="3101"/>
                </a:lnTo>
                <a:lnTo>
                  <a:pt x="9603" y="3876"/>
                </a:lnTo>
                <a:lnTo>
                  <a:pt x="9603" y="4651"/>
                </a:lnTo>
                <a:lnTo>
                  <a:pt x="9603" y="5426"/>
                </a:lnTo>
                <a:lnTo>
                  <a:pt x="9603" y="6202"/>
                </a:lnTo>
                <a:lnTo>
                  <a:pt x="9324" y="5426"/>
                </a:lnTo>
                <a:lnTo>
                  <a:pt x="9047" y="4651"/>
                </a:lnTo>
                <a:lnTo>
                  <a:pt x="8769" y="3876"/>
                </a:lnTo>
                <a:lnTo>
                  <a:pt x="8492" y="3101"/>
                </a:lnTo>
                <a:lnTo>
                  <a:pt x="8214" y="2326"/>
                </a:lnTo>
                <a:lnTo>
                  <a:pt x="7937" y="1550"/>
                </a:lnTo>
                <a:lnTo>
                  <a:pt x="7660" y="775"/>
                </a:lnTo>
                <a:lnTo>
                  <a:pt x="7383" y="0"/>
                </a:lnTo>
                <a:lnTo>
                  <a:pt x="6598" y="0"/>
                </a:lnTo>
                <a:lnTo>
                  <a:pt x="5814" y="0"/>
                </a:lnTo>
                <a:lnTo>
                  <a:pt x="5814" y="775"/>
                </a:lnTo>
                <a:lnTo>
                  <a:pt x="5814" y="1550"/>
                </a:lnTo>
                <a:lnTo>
                  <a:pt x="5814" y="2326"/>
                </a:lnTo>
                <a:lnTo>
                  <a:pt x="5814" y="3101"/>
                </a:lnTo>
                <a:lnTo>
                  <a:pt x="5814" y="3876"/>
                </a:lnTo>
                <a:lnTo>
                  <a:pt x="5814" y="4651"/>
                </a:lnTo>
                <a:lnTo>
                  <a:pt x="5814" y="5426"/>
                </a:lnTo>
                <a:lnTo>
                  <a:pt x="5814" y="6202"/>
                </a:lnTo>
                <a:lnTo>
                  <a:pt x="5535" y="5426"/>
                </a:lnTo>
                <a:lnTo>
                  <a:pt x="5258" y="4651"/>
                </a:lnTo>
                <a:lnTo>
                  <a:pt x="4980" y="3876"/>
                </a:lnTo>
                <a:lnTo>
                  <a:pt x="4703" y="3101"/>
                </a:lnTo>
                <a:lnTo>
                  <a:pt x="4425" y="2326"/>
                </a:lnTo>
                <a:lnTo>
                  <a:pt x="4148" y="1550"/>
                </a:lnTo>
                <a:lnTo>
                  <a:pt x="3871" y="775"/>
                </a:lnTo>
                <a:lnTo>
                  <a:pt x="3594" y="0"/>
                </a:lnTo>
                <a:lnTo>
                  <a:pt x="2809" y="0"/>
                </a:lnTo>
                <a:lnTo>
                  <a:pt x="2025" y="0"/>
                </a:lnTo>
                <a:lnTo>
                  <a:pt x="2025" y="775"/>
                </a:lnTo>
                <a:lnTo>
                  <a:pt x="2025" y="1550"/>
                </a:lnTo>
                <a:lnTo>
                  <a:pt x="2025" y="2326"/>
                </a:lnTo>
                <a:lnTo>
                  <a:pt x="2025" y="3101"/>
                </a:lnTo>
                <a:lnTo>
                  <a:pt x="2025" y="3876"/>
                </a:lnTo>
                <a:lnTo>
                  <a:pt x="2025" y="4651"/>
                </a:lnTo>
                <a:lnTo>
                  <a:pt x="2025" y="5426"/>
                </a:lnTo>
                <a:lnTo>
                  <a:pt x="2025" y="6202"/>
                </a:lnTo>
                <a:lnTo>
                  <a:pt x="1771" y="5494"/>
                </a:lnTo>
                <a:lnTo>
                  <a:pt x="1518" y="4787"/>
                </a:lnTo>
                <a:lnTo>
                  <a:pt x="1265" y="4080"/>
                </a:lnTo>
                <a:lnTo>
                  <a:pt x="1012" y="3373"/>
                </a:lnTo>
                <a:lnTo>
                  <a:pt x="759" y="2665"/>
                </a:lnTo>
                <a:lnTo>
                  <a:pt x="506" y="1959"/>
                </a:lnTo>
                <a:lnTo>
                  <a:pt x="253" y="1251"/>
                </a:lnTo>
                <a:lnTo>
                  <a:pt x="0" y="545"/>
                </a:lnTo>
                <a:lnTo>
                  <a:pt x="0" y="1163"/>
                </a:lnTo>
                <a:lnTo>
                  <a:pt x="0" y="1781"/>
                </a:lnTo>
                <a:lnTo>
                  <a:pt x="0" y="2399"/>
                </a:lnTo>
                <a:lnTo>
                  <a:pt x="0" y="3017"/>
                </a:lnTo>
                <a:lnTo>
                  <a:pt x="308" y="3879"/>
                </a:lnTo>
                <a:lnTo>
                  <a:pt x="617" y="4741"/>
                </a:lnTo>
                <a:lnTo>
                  <a:pt x="925" y="5603"/>
                </a:lnTo>
                <a:lnTo>
                  <a:pt x="1234" y="6465"/>
                </a:lnTo>
                <a:lnTo>
                  <a:pt x="1234" y="7240"/>
                </a:lnTo>
                <a:lnTo>
                  <a:pt x="1234" y="8015"/>
                </a:lnTo>
                <a:lnTo>
                  <a:pt x="1234" y="8791"/>
                </a:lnTo>
                <a:lnTo>
                  <a:pt x="1234" y="9566"/>
                </a:lnTo>
                <a:lnTo>
                  <a:pt x="1234" y="10341"/>
                </a:lnTo>
                <a:lnTo>
                  <a:pt x="1234" y="11116"/>
                </a:lnTo>
                <a:lnTo>
                  <a:pt x="1234" y="11891"/>
                </a:lnTo>
                <a:lnTo>
                  <a:pt x="1234" y="12667"/>
                </a:lnTo>
                <a:lnTo>
                  <a:pt x="925" y="11805"/>
                </a:lnTo>
                <a:lnTo>
                  <a:pt x="617" y="10943"/>
                </a:lnTo>
                <a:lnTo>
                  <a:pt x="308" y="10081"/>
                </a:lnTo>
                <a:lnTo>
                  <a:pt x="0" y="9219"/>
                </a:lnTo>
                <a:lnTo>
                  <a:pt x="0" y="9835"/>
                </a:lnTo>
                <a:lnTo>
                  <a:pt x="0" y="10453"/>
                </a:lnTo>
                <a:lnTo>
                  <a:pt x="0" y="11071"/>
                </a:lnTo>
                <a:lnTo>
                  <a:pt x="0" y="11689"/>
                </a:lnTo>
                <a:lnTo>
                  <a:pt x="222" y="12309"/>
                </a:lnTo>
                <a:lnTo>
                  <a:pt x="444" y="12930"/>
                </a:lnTo>
                <a:lnTo>
                  <a:pt x="1228" y="12930"/>
                </a:lnTo>
                <a:lnTo>
                  <a:pt x="2014" y="12930"/>
                </a:lnTo>
                <a:lnTo>
                  <a:pt x="2014" y="12155"/>
                </a:lnTo>
                <a:lnTo>
                  <a:pt x="2014" y="11380"/>
                </a:lnTo>
                <a:lnTo>
                  <a:pt x="2014" y="10604"/>
                </a:lnTo>
                <a:lnTo>
                  <a:pt x="2014" y="9829"/>
                </a:lnTo>
                <a:lnTo>
                  <a:pt x="2014" y="9054"/>
                </a:lnTo>
                <a:lnTo>
                  <a:pt x="2014" y="8279"/>
                </a:lnTo>
                <a:lnTo>
                  <a:pt x="2014" y="7504"/>
                </a:lnTo>
                <a:lnTo>
                  <a:pt x="2014" y="6728"/>
                </a:lnTo>
                <a:lnTo>
                  <a:pt x="2291" y="7504"/>
                </a:lnTo>
                <a:lnTo>
                  <a:pt x="2568" y="8279"/>
                </a:lnTo>
                <a:lnTo>
                  <a:pt x="2845" y="9054"/>
                </a:lnTo>
                <a:lnTo>
                  <a:pt x="3123" y="9829"/>
                </a:lnTo>
                <a:lnTo>
                  <a:pt x="3400" y="10604"/>
                </a:lnTo>
                <a:lnTo>
                  <a:pt x="3678" y="11380"/>
                </a:lnTo>
                <a:lnTo>
                  <a:pt x="3955" y="12155"/>
                </a:lnTo>
                <a:lnTo>
                  <a:pt x="4233" y="12930"/>
                </a:lnTo>
                <a:lnTo>
                  <a:pt x="5017" y="12930"/>
                </a:lnTo>
                <a:lnTo>
                  <a:pt x="5803" y="12930"/>
                </a:lnTo>
                <a:lnTo>
                  <a:pt x="5803" y="12155"/>
                </a:lnTo>
                <a:lnTo>
                  <a:pt x="5803" y="11380"/>
                </a:lnTo>
                <a:lnTo>
                  <a:pt x="5803" y="10604"/>
                </a:lnTo>
                <a:lnTo>
                  <a:pt x="5803" y="9829"/>
                </a:lnTo>
                <a:lnTo>
                  <a:pt x="5803" y="9054"/>
                </a:lnTo>
                <a:lnTo>
                  <a:pt x="5803" y="8279"/>
                </a:lnTo>
                <a:lnTo>
                  <a:pt x="5803" y="7504"/>
                </a:lnTo>
                <a:lnTo>
                  <a:pt x="5803" y="6728"/>
                </a:lnTo>
                <a:lnTo>
                  <a:pt x="6080" y="7504"/>
                </a:lnTo>
                <a:lnTo>
                  <a:pt x="6357" y="8279"/>
                </a:lnTo>
                <a:lnTo>
                  <a:pt x="6634" y="9054"/>
                </a:lnTo>
                <a:lnTo>
                  <a:pt x="6912" y="9829"/>
                </a:lnTo>
                <a:lnTo>
                  <a:pt x="7189" y="10604"/>
                </a:lnTo>
                <a:lnTo>
                  <a:pt x="7467" y="11380"/>
                </a:lnTo>
                <a:lnTo>
                  <a:pt x="7744" y="12155"/>
                </a:lnTo>
                <a:lnTo>
                  <a:pt x="8022" y="12930"/>
                </a:lnTo>
                <a:lnTo>
                  <a:pt x="8807" y="12930"/>
                </a:lnTo>
                <a:lnTo>
                  <a:pt x="9592" y="12930"/>
                </a:lnTo>
                <a:lnTo>
                  <a:pt x="9592" y="12155"/>
                </a:lnTo>
                <a:lnTo>
                  <a:pt x="9592" y="11380"/>
                </a:lnTo>
                <a:lnTo>
                  <a:pt x="9592" y="10604"/>
                </a:lnTo>
                <a:lnTo>
                  <a:pt x="9592" y="9829"/>
                </a:lnTo>
                <a:lnTo>
                  <a:pt x="9592" y="9054"/>
                </a:lnTo>
                <a:lnTo>
                  <a:pt x="9592" y="8279"/>
                </a:lnTo>
                <a:lnTo>
                  <a:pt x="9592" y="7504"/>
                </a:lnTo>
                <a:lnTo>
                  <a:pt x="9592" y="6728"/>
                </a:lnTo>
                <a:lnTo>
                  <a:pt x="9870" y="7504"/>
                </a:lnTo>
                <a:lnTo>
                  <a:pt x="10147" y="8279"/>
                </a:lnTo>
                <a:lnTo>
                  <a:pt x="10424" y="9054"/>
                </a:lnTo>
                <a:lnTo>
                  <a:pt x="10702" y="9829"/>
                </a:lnTo>
                <a:lnTo>
                  <a:pt x="10979" y="10604"/>
                </a:lnTo>
                <a:lnTo>
                  <a:pt x="11256" y="11380"/>
                </a:lnTo>
                <a:lnTo>
                  <a:pt x="11533" y="12155"/>
                </a:lnTo>
                <a:lnTo>
                  <a:pt x="11811" y="12930"/>
                </a:lnTo>
                <a:lnTo>
                  <a:pt x="12596" y="12930"/>
                </a:lnTo>
                <a:lnTo>
                  <a:pt x="13381" y="12930"/>
                </a:lnTo>
                <a:lnTo>
                  <a:pt x="13381" y="12155"/>
                </a:lnTo>
                <a:lnTo>
                  <a:pt x="13381" y="11380"/>
                </a:lnTo>
                <a:lnTo>
                  <a:pt x="13381" y="10604"/>
                </a:lnTo>
                <a:lnTo>
                  <a:pt x="13381" y="9829"/>
                </a:lnTo>
                <a:lnTo>
                  <a:pt x="13381" y="9054"/>
                </a:lnTo>
                <a:lnTo>
                  <a:pt x="13381" y="8279"/>
                </a:lnTo>
                <a:lnTo>
                  <a:pt x="13381" y="7504"/>
                </a:lnTo>
                <a:lnTo>
                  <a:pt x="13381" y="6728"/>
                </a:lnTo>
                <a:lnTo>
                  <a:pt x="13629" y="7420"/>
                </a:lnTo>
                <a:lnTo>
                  <a:pt x="13877" y="8113"/>
                </a:lnTo>
                <a:lnTo>
                  <a:pt x="14125" y="8806"/>
                </a:lnTo>
                <a:lnTo>
                  <a:pt x="14373" y="9498"/>
                </a:lnTo>
                <a:lnTo>
                  <a:pt x="14620" y="10191"/>
                </a:lnTo>
                <a:lnTo>
                  <a:pt x="14868" y="10884"/>
                </a:lnTo>
                <a:lnTo>
                  <a:pt x="15116" y="11577"/>
                </a:lnTo>
                <a:lnTo>
                  <a:pt x="15364" y="12270"/>
                </a:lnTo>
                <a:lnTo>
                  <a:pt x="15364" y="11652"/>
                </a:lnTo>
                <a:lnTo>
                  <a:pt x="15364" y="11034"/>
                </a:lnTo>
                <a:lnTo>
                  <a:pt x="15364" y="10416"/>
                </a:lnTo>
                <a:lnTo>
                  <a:pt x="15364" y="9798"/>
                </a:lnTo>
                <a:lnTo>
                  <a:pt x="15066" y="8964"/>
                </a:lnTo>
                <a:lnTo>
                  <a:pt x="14768" y="8131"/>
                </a:lnTo>
                <a:lnTo>
                  <a:pt x="14470" y="7297"/>
                </a:lnTo>
                <a:lnTo>
                  <a:pt x="14172" y="6465"/>
                </a:lnTo>
                <a:lnTo>
                  <a:pt x="14172" y="5690"/>
                </a:lnTo>
                <a:lnTo>
                  <a:pt x="14172" y="4915"/>
                </a:lnTo>
                <a:lnTo>
                  <a:pt x="14172" y="4139"/>
                </a:lnTo>
                <a:lnTo>
                  <a:pt x="14172" y="3364"/>
                </a:lnTo>
                <a:lnTo>
                  <a:pt x="14172" y="2589"/>
                </a:lnTo>
                <a:lnTo>
                  <a:pt x="14172" y="1814"/>
                </a:lnTo>
                <a:lnTo>
                  <a:pt x="14172" y="1039"/>
                </a:lnTo>
                <a:lnTo>
                  <a:pt x="14172" y="263"/>
                </a:lnTo>
                <a:lnTo>
                  <a:pt x="14470" y="1095"/>
                </a:lnTo>
                <a:lnTo>
                  <a:pt x="14768" y="1929"/>
                </a:lnTo>
                <a:lnTo>
                  <a:pt x="15066" y="2763"/>
                </a:lnTo>
                <a:lnTo>
                  <a:pt x="15364" y="3596"/>
                </a:lnTo>
                <a:close/>
                <a:moveTo>
                  <a:pt x="5023" y="12667"/>
                </a:moveTo>
                <a:lnTo>
                  <a:pt x="4745" y="11891"/>
                </a:lnTo>
                <a:lnTo>
                  <a:pt x="4468" y="11116"/>
                </a:lnTo>
                <a:lnTo>
                  <a:pt x="4190" y="10341"/>
                </a:lnTo>
                <a:lnTo>
                  <a:pt x="3913" y="9566"/>
                </a:lnTo>
                <a:lnTo>
                  <a:pt x="3635" y="8791"/>
                </a:lnTo>
                <a:lnTo>
                  <a:pt x="3358" y="8015"/>
                </a:lnTo>
                <a:lnTo>
                  <a:pt x="3081" y="7240"/>
                </a:lnTo>
                <a:lnTo>
                  <a:pt x="2804" y="6465"/>
                </a:lnTo>
                <a:lnTo>
                  <a:pt x="2804" y="5690"/>
                </a:lnTo>
                <a:lnTo>
                  <a:pt x="2804" y="4915"/>
                </a:lnTo>
                <a:lnTo>
                  <a:pt x="2804" y="4139"/>
                </a:lnTo>
                <a:lnTo>
                  <a:pt x="2804" y="3364"/>
                </a:lnTo>
                <a:lnTo>
                  <a:pt x="2804" y="2589"/>
                </a:lnTo>
                <a:lnTo>
                  <a:pt x="2804" y="1814"/>
                </a:lnTo>
                <a:lnTo>
                  <a:pt x="2804" y="1039"/>
                </a:lnTo>
                <a:lnTo>
                  <a:pt x="2804" y="263"/>
                </a:lnTo>
                <a:lnTo>
                  <a:pt x="3081" y="1039"/>
                </a:lnTo>
                <a:lnTo>
                  <a:pt x="3358" y="1814"/>
                </a:lnTo>
                <a:lnTo>
                  <a:pt x="3635" y="2589"/>
                </a:lnTo>
                <a:lnTo>
                  <a:pt x="3913" y="3364"/>
                </a:lnTo>
                <a:lnTo>
                  <a:pt x="4190" y="4139"/>
                </a:lnTo>
                <a:lnTo>
                  <a:pt x="4468" y="4915"/>
                </a:lnTo>
                <a:lnTo>
                  <a:pt x="4745" y="5690"/>
                </a:lnTo>
                <a:lnTo>
                  <a:pt x="5023" y="6465"/>
                </a:lnTo>
                <a:lnTo>
                  <a:pt x="5023" y="7240"/>
                </a:lnTo>
                <a:lnTo>
                  <a:pt x="5023" y="8015"/>
                </a:lnTo>
                <a:lnTo>
                  <a:pt x="5023" y="8791"/>
                </a:lnTo>
                <a:lnTo>
                  <a:pt x="5023" y="9566"/>
                </a:lnTo>
                <a:lnTo>
                  <a:pt x="5023" y="10341"/>
                </a:lnTo>
                <a:lnTo>
                  <a:pt x="5023" y="11116"/>
                </a:lnTo>
                <a:lnTo>
                  <a:pt x="5023" y="11891"/>
                </a:lnTo>
                <a:lnTo>
                  <a:pt x="5023" y="12667"/>
                </a:lnTo>
                <a:close/>
                <a:moveTo>
                  <a:pt x="8812" y="6465"/>
                </a:moveTo>
                <a:lnTo>
                  <a:pt x="8812" y="7240"/>
                </a:lnTo>
                <a:lnTo>
                  <a:pt x="8812" y="8015"/>
                </a:lnTo>
                <a:lnTo>
                  <a:pt x="8812" y="8791"/>
                </a:lnTo>
                <a:lnTo>
                  <a:pt x="8812" y="9566"/>
                </a:lnTo>
                <a:lnTo>
                  <a:pt x="8812" y="10341"/>
                </a:lnTo>
                <a:lnTo>
                  <a:pt x="8812" y="11116"/>
                </a:lnTo>
                <a:lnTo>
                  <a:pt x="8812" y="11891"/>
                </a:lnTo>
                <a:lnTo>
                  <a:pt x="8812" y="12667"/>
                </a:lnTo>
                <a:lnTo>
                  <a:pt x="8534" y="11891"/>
                </a:lnTo>
                <a:lnTo>
                  <a:pt x="8257" y="11116"/>
                </a:lnTo>
                <a:lnTo>
                  <a:pt x="7979" y="10341"/>
                </a:lnTo>
                <a:lnTo>
                  <a:pt x="7702" y="9566"/>
                </a:lnTo>
                <a:lnTo>
                  <a:pt x="7424" y="8791"/>
                </a:lnTo>
                <a:lnTo>
                  <a:pt x="7147" y="8015"/>
                </a:lnTo>
                <a:lnTo>
                  <a:pt x="6870" y="7240"/>
                </a:lnTo>
                <a:lnTo>
                  <a:pt x="6593" y="6465"/>
                </a:lnTo>
                <a:lnTo>
                  <a:pt x="6593" y="5690"/>
                </a:lnTo>
                <a:lnTo>
                  <a:pt x="6593" y="4915"/>
                </a:lnTo>
                <a:lnTo>
                  <a:pt x="6593" y="4139"/>
                </a:lnTo>
                <a:lnTo>
                  <a:pt x="6593" y="3364"/>
                </a:lnTo>
                <a:lnTo>
                  <a:pt x="6593" y="2589"/>
                </a:lnTo>
                <a:lnTo>
                  <a:pt x="6593" y="1814"/>
                </a:lnTo>
                <a:lnTo>
                  <a:pt x="6593" y="1039"/>
                </a:lnTo>
                <a:lnTo>
                  <a:pt x="6593" y="263"/>
                </a:lnTo>
                <a:lnTo>
                  <a:pt x="6870" y="1039"/>
                </a:lnTo>
                <a:lnTo>
                  <a:pt x="7147" y="1814"/>
                </a:lnTo>
                <a:lnTo>
                  <a:pt x="7424" y="2589"/>
                </a:lnTo>
                <a:lnTo>
                  <a:pt x="7702" y="3364"/>
                </a:lnTo>
                <a:lnTo>
                  <a:pt x="7979" y="4139"/>
                </a:lnTo>
                <a:lnTo>
                  <a:pt x="8257" y="4915"/>
                </a:lnTo>
                <a:lnTo>
                  <a:pt x="8534" y="5690"/>
                </a:lnTo>
                <a:lnTo>
                  <a:pt x="8812" y="6465"/>
                </a:lnTo>
                <a:close/>
                <a:moveTo>
                  <a:pt x="12601" y="12667"/>
                </a:moveTo>
                <a:lnTo>
                  <a:pt x="12323" y="11891"/>
                </a:lnTo>
                <a:lnTo>
                  <a:pt x="12046" y="11116"/>
                </a:lnTo>
                <a:lnTo>
                  <a:pt x="11769" y="10341"/>
                </a:lnTo>
                <a:lnTo>
                  <a:pt x="11492" y="9566"/>
                </a:lnTo>
                <a:lnTo>
                  <a:pt x="11214" y="8791"/>
                </a:lnTo>
                <a:lnTo>
                  <a:pt x="10937" y="8015"/>
                </a:lnTo>
                <a:lnTo>
                  <a:pt x="10660" y="7240"/>
                </a:lnTo>
                <a:lnTo>
                  <a:pt x="10383" y="6465"/>
                </a:lnTo>
                <a:lnTo>
                  <a:pt x="10383" y="5690"/>
                </a:lnTo>
                <a:lnTo>
                  <a:pt x="10383" y="4915"/>
                </a:lnTo>
                <a:lnTo>
                  <a:pt x="10383" y="4139"/>
                </a:lnTo>
                <a:lnTo>
                  <a:pt x="10383" y="3364"/>
                </a:lnTo>
                <a:lnTo>
                  <a:pt x="10383" y="2589"/>
                </a:lnTo>
                <a:lnTo>
                  <a:pt x="10383" y="1814"/>
                </a:lnTo>
                <a:lnTo>
                  <a:pt x="10383" y="1039"/>
                </a:lnTo>
                <a:lnTo>
                  <a:pt x="10383" y="263"/>
                </a:lnTo>
                <a:lnTo>
                  <a:pt x="10660" y="1039"/>
                </a:lnTo>
                <a:lnTo>
                  <a:pt x="10937" y="1814"/>
                </a:lnTo>
                <a:lnTo>
                  <a:pt x="11214" y="2589"/>
                </a:lnTo>
                <a:lnTo>
                  <a:pt x="11492" y="3364"/>
                </a:lnTo>
                <a:lnTo>
                  <a:pt x="11769" y="4139"/>
                </a:lnTo>
                <a:lnTo>
                  <a:pt x="12046" y="4915"/>
                </a:lnTo>
                <a:lnTo>
                  <a:pt x="12323" y="5690"/>
                </a:lnTo>
                <a:lnTo>
                  <a:pt x="12601" y="6465"/>
                </a:lnTo>
                <a:lnTo>
                  <a:pt x="12601" y="7240"/>
                </a:lnTo>
                <a:lnTo>
                  <a:pt x="12601" y="8015"/>
                </a:lnTo>
                <a:lnTo>
                  <a:pt x="12601" y="8791"/>
                </a:lnTo>
                <a:lnTo>
                  <a:pt x="12601" y="9566"/>
                </a:lnTo>
                <a:lnTo>
                  <a:pt x="12601" y="10341"/>
                </a:lnTo>
                <a:lnTo>
                  <a:pt x="12601" y="11116"/>
                </a:lnTo>
                <a:lnTo>
                  <a:pt x="12601" y="11891"/>
                </a:lnTo>
                <a:lnTo>
                  <a:pt x="12601" y="12667"/>
                </a:lnTo>
                <a:close/>
              </a:path>
            </a:pathLst>
          </a:custGeom>
          <a:solidFill>
            <a:srgbClr val="FAD4BB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fi-FI" sz="1799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2827" y="2492376"/>
            <a:ext cx="9214104" cy="3384551"/>
          </a:xfrm>
          <a:noFill/>
        </p:spPr>
        <p:txBody>
          <a:bodyPr lIns="36000" tIns="36000" rIns="36000" bIns="36000"/>
          <a:lstStyle>
            <a:lvl1pPr marL="0" indent="0">
              <a:buFontTx/>
              <a:buNone/>
              <a:defRPr b="1">
                <a:solidFill>
                  <a:schemeClr val="accent1"/>
                </a:solidFill>
              </a:defRPr>
            </a:lvl1pPr>
            <a:lvl2pPr marL="266620" indent="-266620">
              <a:buFont typeface="Arial" pitchFamily="34" charset="0"/>
              <a:buChar char="•"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97BA46-9225-4C4E-B2D5-34578A4BFA62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C32A62-499F-41D5-833C-F13F18147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1F9522E1-9AB3-9CA3-CCBF-FFEEB97FBFD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315144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2307" y="2060576"/>
            <a:ext cx="5399715" cy="3816351"/>
          </a:xfrm>
        </p:spPr>
        <p:txBody>
          <a:bodyPr/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9978" y="2060576"/>
            <a:ext cx="5399716" cy="3816351"/>
          </a:xfrm>
        </p:spPr>
        <p:txBody>
          <a:bodyPr/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7DAE1-01A0-434D-A4E1-A0072960A73F}" type="datetime1">
              <a:rPr lang="fi-FI" smtClean="0"/>
              <a:t>17.4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mo.vuori@aalto.f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49ED8A3-F27F-46BC-A7B5-F8307D1C8E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54922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62C0C6-2DE4-3B67-3226-27E336986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823825-579D-CDF4-6B59-D1219911B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A4E7D5-85FE-F34A-1587-5DF05864A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BBAF85-6CD9-FD07-6E0F-98ADFC80F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13343038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2307" y="1700214"/>
            <a:ext cx="5399715" cy="360635"/>
          </a:xfrm>
        </p:spPr>
        <p:txBody>
          <a:bodyPr anchor="t" anchorCtr="0"/>
          <a:lstStyle>
            <a:lvl1pPr marL="0" indent="0">
              <a:buNone/>
              <a:defRPr sz="1799" b="1">
                <a:solidFill>
                  <a:schemeClr val="tx1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2307" y="2060576"/>
            <a:ext cx="5399715" cy="3816351"/>
          </a:xfrm>
        </p:spPr>
        <p:txBody>
          <a:bodyPr/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39978" y="1700214"/>
            <a:ext cx="5399716" cy="360635"/>
          </a:xfrm>
        </p:spPr>
        <p:txBody>
          <a:bodyPr anchor="t" anchorCtr="0"/>
          <a:lstStyle>
            <a:lvl1pPr marL="0" indent="0">
              <a:buNone/>
              <a:defRPr sz="1799" b="1">
                <a:solidFill>
                  <a:schemeClr val="tx1"/>
                </a:solidFill>
              </a:defRPr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39978" y="2060576"/>
            <a:ext cx="5399716" cy="3816351"/>
          </a:xfrm>
        </p:spPr>
        <p:txBody>
          <a:bodyPr/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0A6EA8-33D5-CB4A-97C9-C50FBAA19442}" type="datetime1">
              <a:rPr lang="fi-FI" smtClean="0"/>
              <a:t>17.4.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mo.vuori@aalto.fi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42F4A0-4020-4703-842C-B7323B5B9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6914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AB7B75-B2CC-AB40-991B-C0E0F667F369}" type="datetime1">
              <a:rPr lang="fi-FI" smtClean="0"/>
              <a:t>17.4.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mo.vuori@aalto.fi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2F58292-2F6C-4899-A664-BFCEC0158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56823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595202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2863659-01D6-4E4B-887A-45A0CB1C2F39}" type="datetime1">
              <a:rPr lang="fi-FI" smtClean="0"/>
              <a:t>17.4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timo.vuori@aalto.f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6239978" y="2060575"/>
            <a:ext cx="5399716" cy="381635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96C73E-AAE2-4391-A6D4-EA92BF1CE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9978" y="476250"/>
            <a:ext cx="5399194" cy="488201"/>
          </a:xfrm>
        </p:spPr>
        <p:txBody>
          <a:bodyPr>
            <a:spAutoFit/>
          </a:bodyPr>
          <a:lstStyle>
            <a:lvl1pPr>
              <a:defRPr sz="2999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076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1/2 PIC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31673" y="0"/>
            <a:ext cx="595202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1EE5157-890E-954F-AD94-C68A8F60567A}" type="datetime1">
              <a:rPr lang="fi-FI" smtClean="0"/>
              <a:t>17.4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timo.vuori@aalto.f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549670" y="2060575"/>
            <a:ext cx="5399716" cy="381635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96C73E-AAE2-4391-A6D4-EA92BF1CE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670" y="476250"/>
            <a:ext cx="5399194" cy="488201"/>
          </a:xfrm>
        </p:spPr>
        <p:txBody>
          <a:bodyPr>
            <a:spAutoFit/>
          </a:bodyPr>
          <a:lstStyle>
            <a:lvl1pPr>
              <a:defRPr sz="2999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063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/3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080399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25854F6-6F16-AF43-8003-1E9DD86092D7}" type="datetime1">
              <a:rPr lang="fi-FI" smtClean="0"/>
              <a:t>17.4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timo.vuori@aalto.f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820714-41F7-4150-99A2-7E0DCCB56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8257" y="476250"/>
            <a:ext cx="7270915" cy="488201"/>
          </a:xfrm>
        </p:spPr>
        <p:txBody>
          <a:bodyPr>
            <a:spAutoFit/>
          </a:bodyPr>
          <a:lstStyle>
            <a:lvl1pPr>
              <a:defRPr sz="2999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3A0A87F8-AADF-DED4-B30B-42CAE1895B3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68258" y="2060575"/>
            <a:ext cx="7271435" cy="381635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24803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1/3 PIC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8111601" y="0"/>
            <a:ext cx="4080399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6EF467A-19B1-FE49-A952-7B48A9E58EA4}" type="datetime1">
              <a:rPr lang="fi-FI" smtClean="0"/>
              <a:t>17.4.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timo.vuori@aalto.f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820714-41F7-4150-99A2-7E0DCCB56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306" y="476250"/>
            <a:ext cx="7270915" cy="488201"/>
          </a:xfrm>
        </p:spPr>
        <p:txBody>
          <a:bodyPr>
            <a:spAutoFit/>
          </a:bodyPr>
          <a:lstStyle>
            <a:lvl1pPr>
              <a:defRPr sz="2999"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2" name="Content Placeholder 7">
            <a:extLst>
              <a:ext uri="{FF2B5EF4-FFF2-40B4-BE49-F238E27FC236}">
                <a16:creationId xmlns:a16="http://schemas.microsoft.com/office/drawing/2014/main" id="{1D1FFCD0-FDE7-777D-8034-072DD6BB4B2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49670" y="2060575"/>
            <a:ext cx="7274072" cy="3816350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595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345C9-03DD-CC44-B107-A78325D3C065}" type="datetime1">
              <a:rPr lang="fi-FI" smtClean="0"/>
              <a:t>17.4.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mo.vuori@aalto.f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85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738657-B85A-613F-F20D-640EA0556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2072F9-2656-B836-5678-B74D2FD04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3B6AA7-A729-3023-6927-BE26190E4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768514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E226C5-3153-17E9-5951-387E086D0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A3D6DA-226E-F9FD-B42B-36C5B1485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0C5BA1-76CE-D503-8F07-0084E6B963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C8E8D2-281E-9A08-FD10-5C2B59305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F1D35B-686C-0E01-76AC-39B5AF813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FB9E3F-1CC8-F007-0736-4D9F3A693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613434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1DD97A-36BD-D496-0CB5-48A5483AF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239AF0-641F-5648-43B4-494A914E4D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ID4096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BE7949-29D7-8250-0411-B1A20F3A6A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E9A709-0FF7-EAE6-86E4-6E230E2E5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A0FBB2-13D3-7767-1F25-A4234E2CC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C35DD2-60C2-C695-B102-3EB077DC2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420628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1D2F2B-3390-976A-0ED3-A1DAA5391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DEA459-4CF9-F7F3-56CD-0DE4F727F1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88D8FE-0313-D49C-CEEB-66732FFBEE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27D2EB-DB14-48DC-B24B-BF40ACD6A83A}" type="datetimeFigureOut">
              <a:rPr lang="LID4096" smtClean="0"/>
              <a:t>04/17/2025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FE56C5-1AE9-BCC6-39FA-037C371BDD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1993C0-5EA1-E552-9F7F-E421143B3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CB785B8-CAE3-49B3-B94B-2AB5AC28AF5E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79976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ID4096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3ABE17-3324-BB48-C731-3C14273E7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0FEBF7-DEC0-455D-5987-CA62E2648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CC3EDD-A204-D4AE-CAE0-F1A9896540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BADE49-75CF-4DE3-8CDA-D38F11585346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B965B2-1D17-7CC4-4164-5ED562938E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F1909D-03D1-08F7-5119-5EDDE93B7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11096B9-CCEF-4063-84BB-0D3C898BDEE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64342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BDBA30-E601-4791-9CAE-7872392E3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1E0885-A79B-46B0-BCE3-1A8A6AE0EE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289DFA-4F07-469A-A149-73D921D3BE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A3F191-B5D2-40F5-BD88-DFA1A4A5BAA7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C45F8A-768D-4B8D-B960-A03BA7988D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57EB65-47B9-49BE-8327-9A7C20D45E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F6C82-4E7E-4A69-973A-6D7C84B4E2C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09366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43E112-D4C7-A52A-6E50-693E3F5EB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3ED49E-1223-6186-52F5-798CA6C44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BE3F8D-0FEF-6A4F-A19F-857B0EEE4C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A74E0-EDC1-4465-AA7F-E7E50DE25B83}" type="datetimeFigureOut">
              <a:rPr lang="fi-FI" smtClean="0"/>
              <a:t>17.4.2025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EC50DD-ACAE-58D0-9CF8-B165EEC6A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44633E-F6CC-BCD9-837D-0A91C34D1E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5136AC-BBF0-49FC-9042-35DFDCC6A96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0642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D808168-3E14-A097-66D8-3BCB534DB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0737309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808168-3E14-A097-66D8-3BCB534DB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2827" y="476250"/>
            <a:ext cx="11086867" cy="73750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 anchorCtr="0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2306" y="2060848"/>
            <a:ext cx="11087388" cy="3816078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67451" y="6381329"/>
            <a:ext cx="1583764" cy="216025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63C34AFB-6998-FF4E-97A0-CDA61E54C116}" type="datetime1">
              <a:rPr lang="fi-FI" smtClean="0"/>
              <a:t>17.4.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24871" y="6381329"/>
            <a:ext cx="7342581" cy="216024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/>
              <a:t>timo.vuori@aalto.fi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1215" y="6381328"/>
            <a:ext cx="503925" cy="216024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r">
              <a:defRPr sz="1000" b="0">
                <a:solidFill>
                  <a:schemeClr val="bg2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(c)" hidden="1"/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967372" y="6891795"/>
            <a:ext cx="214746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aalto ee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8" name="(logo)" descr="Z:\GRW (grow)\logot\copyright_grow.png" hidden="1"/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6000"/>
            <a:ext cx="60245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reeform 5">
            <a:extLst>
              <a:ext uri="{FF2B5EF4-FFF2-40B4-BE49-F238E27FC236}">
                <a16:creationId xmlns:a16="http://schemas.microsoft.com/office/drawing/2014/main" id="{B6E17F37-669D-5E9E-55C4-935B17A456F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6859" y="6237344"/>
            <a:ext cx="1691861" cy="288000"/>
          </a:xfrm>
          <a:custGeom>
            <a:avLst/>
            <a:gdLst>
              <a:gd name="T0" fmla="*/ 879 w 15360"/>
              <a:gd name="T1" fmla="*/ 0 h 2614"/>
              <a:gd name="T2" fmla="*/ 5057 w 15360"/>
              <a:gd name="T3" fmla="*/ 159 h 2614"/>
              <a:gd name="T4" fmla="*/ 5122 w 15360"/>
              <a:gd name="T5" fmla="*/ 312 h 2614"/>
              <a:gd name="T6" fmla="*/ 5776 w 15360"/>
              <a:gd name="T7" fmla="*/ 514 h 2614"/>
              <a:gd name="T8" fmla="*/ 5952 w 15360"/>
              <a:gd name="T9" fmla="*/ 549 h 2614"/>
              <a:gd name="T10" fmla="*/ 6218 w 15360"/>
              <a:gd name="T11" fmla="*/ 492 h 2614"/>
              <a:gd name="T12" fmla="*/ 6809 w 15360"/>
              <a:gd name="T13" fmla="*/ 566 h 2614"/>
              <a:gd name="T14" fmla="*/ 7790 w 15360"/>
              <a:gd name="T15" fmla="*/ 329 h 2614"/>
              <a:gd name="T16" fmla="*/ 8540 w 15360"/>
              <a:gd name="T17" fmla="*/ 172 h 2614"/>
              <a:gd name="T18" fmla="*/ 8668 w 15360"/>
              <a:gd name="T19" fmla="*/ 198 h 2614"/>
              <a:gd name="T20" fmla="*/ 9313 w 15360"/>
              <a:gd name="T21" fmla="*/ 170 h 2614"/>
              <a:gd name="T22" fmla="*/ 9855 w 15360"/>
              <a:gd name="T23" fmla="*/ 477 h 2614"/>
              <a:gd name="T24" fmla="*/ 9475 w 15360"/>
              <a:gd name="T25" fmla="*/ 370 h 2614"/>
              <a:gd name="T26" fmla="*/ 10355 w 15360"/>
              <a:gd name="T27" fmla="*/ 518 h 2614"/>
              <a:gd name="T28" fmla="*/ 10611 w 15360"/>
              <a:gd name="T29" fmla="*/ 547 h 2614"/>
              <a:gd name="T30" fmla="*/ 5461 w 15360"/>
              <a:gd name="T31" fmla="*/ 1448 h 2614"/>
              <a:gd name="T32" fmla="*/ 5619 w 15360"/>
              <a:gd name="T33" fmla="*/ 1121 h 2614"/>
              <a:gd name="T34" fmla="*/ 5925 w 15360"/>
              <a:gd name="T35" fmla="*/ 1350 h 2614"/>
              <a:gd name="T36" fmla="*/ 5850 w 15360"/>
              <a:gd name="T37" fmla="*/ 1149 h 2614"/>
              <a:gd name="T38" fmla="*/ 6483 w 15360"/>
              <a:gd name="T39" fmla="*/ 1439 h 2614"/>
              <a:gd name="T40" fmla="*/ 7063 w 15360"/>
              <a:gd name="T41" fmla="*/ 1197 h 2614"/>
              <a:gd name="T42" fmla="*/ 8086 w 15360"/>
              <a:gd name="T43" fmla="*/ 1556 h 2614"/>
              <a:gd name="T44" fmla="*/ 8107 w 15360"/>
              <a:gd name="T45" fmla="*/ 1208 h 2614"/>
              <a:gd name="T46" fmla="*/ 9200 w 15360"/>
              <a:gd name="T47" fmla="*/ 1419 h 2614"/>
              <a:gd name="T48" fmla="*/ 9489 w 15360"/>
              <a:gd name="T49" fmla="*/ 1247 h 2614"/>
              <a:gd name="T50" fmla="*/ 9951 w 15360"/>
              <a:gd name="T51" fmla="*/ 1446 h 2614"/>
              <a:gd name="T52" fmla="*/ 10676 w 15360"/>
              <a:gd name="T53" fmla="*/ 1421 h 2614"/>
              <a:gd name="T54" fmla="*/ 10555 w 15360"/>
              <a:gd name="T55" fmla="*/ 1260 h 2614"/>
              <a:gd name="T56" fmla="*/ 10750 w 15360"/>
              <a:gd name="T57" fmla="*/ 1417 h 2614"/>
              <a:gd name="T58" fmla="*/ 11043 w 15360"/>
              <a:gd name="T59" fmla="*/ 1400 h 2614"/>
              <a:gd name="T60" fmla="*/ 12307 w 15360"/>
              <a:gd name="T61" fmla="*/ 1324 h 2614"/>
              <a:gd name="T62" fmla="*/ 12270 w 15360"/>
              <a:gd name="T63" fmla="*/ 1187 h 2614"/>
              <a:gd name="T64" fmla="*/ 12530 w 15360"/>
              <a:gd name="T65" fmla="*/ 1099 h 2614"/>
              <a:gd name="T66" fmla="*/ 4573 w 15360"/>
              <a:gd name="T67" fmla="*/ 1857 h 2614"/>
              <a:gd name="T68" fmla="*/ 4963 w 15360"/>
              <a:gd name="T69" fmla="*/ 2026 h 2614"/>
              <a:gd name="T70" fmla="*/ 5229 w 15360"/>
              <a:gd name="T71" fmla="*/ 2418 h 2614"/>
              <a:gd name="T72" fmla="*/ 5463 w 15360"/>
              <a:gd name="T73" fmla="*/ 2361 h 2614"/>
              <a:gd name="T74" fmla="*/ 5889 w 15360"/>
              <a:gd name="T75" fmla="*/ 1854 h 2614"/>
              <a:gd name="T76" fmla="*/ 6002 w 15360"/>
              <a:gd name="T77" fmla="*/ 2275 h 2614"/>
              <a:gd name="T78" fmla="*/ 6136 w 15360"/>
              <a:gd name="T79" fmla="*/ 2194 h 2614"/>
              <a:gd name="T80" fmla="*/ 6523 w 15360"/>
              <a:gd name="T81" fmla="*/ 2362 h 2614"/>
              <a:gd name="T82" fmla="*/ 6829 w 15360"/>
              <a:gd name="T83" fmla="*/ 2035 h 2614"/>
              <a:gd name="T84" fmla="*/ 7156 w 15360"/>
              <a:gd name="T85" fmla="*/ 2481 h 2614"/>
              <a:gd name="T86" fmla="*/ 7081 w 15360"/>
              <a:gd name="T87" fmla="*/ 2035 h 2614"/>
              <a:gd name="T88" fmla="*/ 7782 w 15360"/>
              <a:gd name="T89" fmla="*/ 2418 h 2614"/>
              <a:gd name="T90" fmla="*/ 8016 w 15360"/>
              <a:gd name="T91" fmla="*/ 2361 h 2614"/>
              <a:gd name="T92" fmla="*/ 8561 w 15360"/>
              <a:gd name="T93" fmla="*/ 2229 h 2614"/>
              <a:gd name="T94" fmla="*/ 9208 w 15360"/>
              <a:gd name="T95" fmla="*/ 2190 h 2614"/>
              <a:gd name="T96" fmla="*/ 8937 w 15360"/>
              <a:gd name="T97" fmla="*/ 2142 h 2614"/>
              <a:gd name="T98" fmla="*/ 10392 w 15360"/>
              <a:gd name="T99" fmla="*/ 2161 h 2614"/>
              <a:gd name="T100" fmla="*/ 9999 w 15360"/>
              <a:gd name="T101" fmla="*/ 2353 h 2614"/>
              <a:gd name="T102" fmla="*/ 10607 w 15360"/>
              <a:gd name="T103" fmla="*/ 2029 h 2614"/>
              <a:gd name="T104" fmla="*/ 11390 w 15360"/>
              <a:gd name="T105" fmla="*/ 2026 h 2614"/>
              <a:gd name="T106" fmla="*/ 11517 w 15360"/>
              <a:gd name="T107" fmla="*/ 2052 h 2614"/>
              <a:gd name="T108" fmla="*/ 12667 w 15360"/>
              <a:gd name="T109" fmla="*/ 2301 h 2614"/>
              <a:gd name="T110" fmla="*/ 12654 w 15360"/>
              <a:gd name="T111" fmla="*/ 2155 h 2614"/>
              <a:gd name="T112" fmla="*/ 12889 w 15360"/>
              <a:gd name="T113" fmla="*/ 2077 h 2614"/>
              <a:gd name="T114" fmla="*/ 12932 w 15360"/>
              <a:gd name="T115" fmla="*/ 2357 h 2614"/>
              <a:gd name="T116" fmla="*/ 13673 w 15360"/>
              <a:gd name="T117" fmla="*/ 2068 h 2614"/>
              <a:gd name="T118" fmla="*/ 13507 w 15360"/>
              <a:gd name="T119" fmla="*/ 2127 h 2614"/>
              <a:gd name="T120" fmla="*/ 14065 w 15360"/>
              <a:gd name="T121" fmla="*/ 2275 h 2614"/>
              <a:gd name="T122" fmla="*/ 14198 w 15360"/>
              <a:gd name="T123" fmla="*/ 2194 h 26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360" h="2614">
                <a:moveTo>
                  <a:pt x="15360" y="2124"/>
                </a:moveTo>
                <a:lnTo>
                  <a:pt x="15281" y="2124"/>
                </a:lnTo>
                <a:lnTo>
                  <a:pt x="15281" y="2298"/>
                </a:lnTo>
                <a:lnTo>
                  <a:pt x="15281" y="2338"/>
                </a:lnTo>
                <a:lnTo>
                  <a:pt x="15286" y="2362"/>
                </a:lnTo>
                <a:lnTo>
                  <a:pt x="15290" y="2368"/>
                </a:lnTo>
                <a:lnTo>
                  <a:pt x="15295" y="2372"/>
                </a:lnTo>
                <a:lnTo>
                  <a:pt x="15314" y="2373"/>
                </a:lnTo>
                <a:lnTo>
                  <a:pt x="15360" y="2373"/>
                </a:lnTo>
                <a:lnTo>
                  <a:pt x="15360" y="2472"/>
                </a:lnTo>
                <a:lnTo>
                  <a:pt x="15281" y="2472"/>
                </a:lnTo>
                <a:lnTo>
                  <a:pt x="15242" y="2470"/>
                </a:lnTo>
                <a:lnTo>
                  <a:pt x="15214" y="2466"/>
                </a:lnTo>
                <a:lnTo>
                  <a:pt x="15192" y="2457"/>
                </a:lnTo>
                <a:lnTo>
                  <a:pt x="15175" y="2442"/>
                </a:lnTo>
                <a:lnTo>
                  <a:pt x="15162" y="2425"/>
                </a:lnTo>
                <a:lnTo>
                  <a:pt x="15155" y="2403"/>
                </a:lnTo>
                <a:lnTo>
                  <a:pt x="15149" y="2372"/>
                </a:lnTo>
                <a:lnTo>
                  <a:pt x="15149" y="2327"/>
                </a:lnTo>
                <a:lnTo>
                  <a:pt x="15149" y="2124"/>
                </a:lnTo>
                <a:lnTo>
                  <a:pt x="15086" y="2124"/>
                </a:lnTo>
                <a:lnTo>
                  <a:pt x="15086" y="2031"/>
                </a:lnTo>
                <a:lnTo>
                  <a:pt x="15149" y="2031"/>
                </a:lnTo>
                <a:lnTo>
                  <a:pt x="15149" y="1889"/>
                </a:lnTo>
                <a:lnTo>
                  <a:pt x="15281" y="1889"/>
                </a:lnTo>
                <a:lnTo>
                  <a:pt x="15281" y="2031"/>
                </a:lnTo>
                <a:lnTo>
                  <a:pt x="15360" y="2031"/>
                </a:lnTo>
                <a:lnTo>
                  <a:pt x="15360" y="2124"/>
                </a:lnTo>
                <a:close/>
                <a:moveTo>
                  <a:pt x="1559" y="1545"/>
                </a:moveTo>
                <a:lnTo>
                  <a:pt x="1253" y="662"/>
                </a:lnTo>
                <a:lnTo>
                  <a:pt x="947" y="1545"/>
                </a:lnTo>
                <a:lnTo>
                  <a:pt x="1559" y="1545"/>
                </a:lnTo>
                <a:close/>
                <a:moveTo>
                  <a:pt x="2504" y="2477"/>
                </a:moveTo>
                <a:lnTo>
                  <a:pt x="1882" y="2477"/>
                </a:lnTo>
                <a:lnTo>
                  <a:pt x="1730" y="2039"/>
                </a:lnTo>
                <a:lnTo>
                  <a:pt x="775" y="2039"/>
                </a:lnTo>
                <a:lnTo>
                  <a:pt x="623" y="2477"/>
                </a:lnTo>
                <a:lnTo>
                  <a:pt x="0" y="2477"/>
                </a:lnTo>
                <a:lnTo>
                  <a:pt x="439" y="1237"/>
                </a:lnTo>
                <a:lnTo>
                  <a:pt x="879" y="0"/>
                </a:lnTo>
                <a:lnTo>
                  <a:pt x="1628" y="0"/>
                </a:lnTo>
                <a:lnTo>
                  <a:pt x="2065" y="1237"/>
                </a:lnTo>
                <a:lnTo>
                  <a:pt x="2504" y="2477"/>
                </a:lnTo>
                <a:close/>
                <a:moveTo>
                  <a:pt x="2738" y="2477"/>
                </a:moveTo>
                <a:lnTo>
                  <a:pt x="2738" y="1915"/>
                </a:lnTo>
                <a:lnTo>
                  <a:pt x="3302" y="1915"/>
                </a:lnTo>
                <a:lnTo>
                  <a:pt x="3302" y="2477"/>
                </a:lnTo>
                <a:lnTo>
                  <a:pt x="2738" y="2477"/>
                </a:lnTo>
                <a:close/>
                <a:moveTo>
                  <a:pt x="3318" y="858"/>
                </a:moveTo>
                <a:lnTo>
                  <a:pt x="3174" y="1717"/>
                </a:lnTo>
                <a:lnTo>
                  <a:pt x="2844" y="1717"/>
                </a:lnTo>
                <a:lnTo>
                  <a:pt x="2721" y="858"/>
                </a:lnTo>
                <a:lnTo>
                  <a:pt x="2721" y="0"/>
                </a:lnTo>
                <a:lnTo>
                  <a:pt x="3318" y="0"/>
                </a:lnTo>
                <a:lnTo>
                  <a:pt x="3318" y="858"/>
                </a:lnTo>
                <a:close/>
                <a:moveTo>
                  <a:pt x="4399" y="495"/>
                </a:moveTo>
                <a:lnTo>
                  <a:pt x="4360" y="619"/>
                </a:lnTo>
                <a:lnTo>
                  <a:pt x="4208" y="619"/>
                </a:lnTo>
                <a:lnTo>
                  <a:pt x="4425" y="1"/>
                </a:lnTo>
                <a:lnTo>
                  <a:pt x="4597" y="1"/>
                </a:lnTo>
                <a:lnTo>
                  <a:pt x="4796" y="619"/>
                </a:lnTo>
                <a:lnTo>
                  <a:pt x="4636" y="619"/>
                </a:lnTo>
                <a:lnTo>
                  <a:pt x="4603" y="495"/>
                </a:lnTo>
                <a:lnTo>
                  <a:pt x="4399" y="495"/>
                </a:lnTo>
                <a:close/>
                <a:moveTo>
                  <a:pt x="4508" y="138"/>
                </a:moveTo>
                <a:lnTo>
                  <a:pt x="4432" y="381"/>
                </a:lnTo>
                <a:lnTo>
                  <a:pt x="4573" y="381"/>
                </a:lnTo>
                <a:lnTo>
                  <a:pt x="4508" y="138"/>
                </a:lnTo>
                <a:close/>
                <a:moveTo>
                  <a:pt x="4859" y="312"/>
                </a:moveTo>
                <a:lnTo>
                  <a:pt x="4864" y="275"/>
                </a:lnTo>
                <a:lnTo>
                  <a:pt x="4868" y="260"/>
                </a:lnTo>
                <a:lnTo>
                  <a:pt x="4875" y="246"/>
                </a:lnTo>
                <a:lnTo>
                  <a:pt x="4883" y="231"/>
                </a:lnTo>
                <a:lnTo>
                  <a:pt x="4892" y="218"/>
                </a:lnTo>
                <a:lnTo>
                  <a:pt x="4912" y="198"/>
                </a:lnTo>
                <a:lnTo>
                  <a:pt x="4940" y="181"/>
                </a:lnTo>
                <a:lnTo>
                  <a:pt x="4957" y="173"/>
                </a:lnTo>
                <a:lnTo>
                  <a:pt x="4974" y="168"/>
                </a:lnTo>
                <a:lnTo>
                  <a:pt x="5013" y="162"/>
                </a:lnTo>
                <a:lnTo>
                  <a:pt x="5057" y="159"/>
                </a:lnTo>
                <a:lnTo>
                  <a:pt x="5105" y="162"/>
                </a:lnTo>
                <a:lnTo>
                  <a:pt x="5146" y="172"/>
                </a:lnTo>
                <a:lnTo>
                  <a:pt x="5181" y="186"/>
                </a:lnTo>
                <a:lnTo>
                  <a:pt x="5211" y="205"/>
                </a:lnTo>
                <a:lnTo>
                  <a:pt x="5233" y="229"/>
                </a:lnTo>
                <a:lnTo>
                  <a:pt x="5241" y="242"/>
                </a:lnTo>
                <a:lnTo>
                  <a:pt x="5246" y="257"/>
                </a:lnTo>
                <a:lnTo>
                  <a:pt x="5254" y="292"/>
                </a:lnTo>
                <a:lnTo>
                  <a:pt x="5255" y="336"/>
                </a:lnTo>
                <a:lnTo>
                  <a:pt x="5255" y="542"/>
                </a:lnTo>
                <a:lnTo>
                  <a:pt x="5257" y="571"/>
                </a:lnTo>
                <a:lnTo>
                  <a:pt x="5259" y="590"/>
                </a:lnTo>
                <a:lnTo>
                  <a:pt x="5265" y="605"/>
                </a:lnTo>
                <a:lnTo>
                  <a:pt x="5272" y="619"/>
                </a:lnTo>
                <a:lnTo>
                  <a:pt x="5139" y="619"/>
                </a:lnTo>
                <a:lnTo>
                  <a:pt x="5128" y="584"/>
                </a:lnTo>
                <a:lnTo>
                  <a:pt x="5098" y="606"/>
                </a:lnTo>
                <a:lnTo>
                  <a:pt x="5068" y="621"/>
                </a:lnTo>
                <a:lnTo>
                  <a:pt x="5037" y="629"/>
                </a:lnTo>
                <a:lnTo>
                  <a:pt x="5000" y="630"/>
                </a:lnTo>
                <a:lnTo>
                  <a:pt x="4964" y="629"/>
                </a:lnTo>
                <a:lnTo>
                  <a:pt x="4933" y="621"/>
                </a:lnTo>
                <a:lnTo>
                  <a:pt x="4903" y="608"/>
                </a:lnTo>
                <a:lnTo>
                  <a:pt x="4881" y="593"/>
                </a:lnTo>
                <a:lnTo>
                  <a:pt x="4861" y="573"/>
                </a:lnTo>
                <a:lnTo>
                  <a:pt x="4846" y="549"/>
                </a:lnTo>
                <a:lnTo>
                  <a:pt x="4838" y="521"/>
                </a:lnTo>
                <a:lnTo>
                  <a:pt x="4835" y="492"/>
                </a:lnTo>
                <a:lnTo>
                  <a:pt x="4836" y="462"/>
                </a:lnTo>
                <a:lnTo>
                  <a:pt x="4846" y="434"/>
                </a:lnTo>
                <a:lnTo>
                  <a:pt x="4859" y="412"/>
                </a:lnTo>
                <a:lnTo>
                  <a:pt x="4877" y="394"/>
                </a:lnTo>
                <a:lnTo>
                  <a:pt x="4901" y="377"/>
                </a:lnTo>
                <a:lnTo>
                  <a:pt x="4933" y="362"/>
                </a:lnTo>
                <a:lnTo>
                  <a:pt x="4970" y="351"/>
                </a:lnTo>
                <a:lnTo>
                  <a:pt x="5013" y="344"/>
                </a:lnTo>
                <a:lnTo>
                  <a:pt x="5085" y="331"/>
                </a:lnTo>
                <a:lnTo>
                  <a:pt x="5103" y="327"/>
                </a:lnTo>
                <a:lnTo>
                  <a:pt x="5116" y="322"/>
                </a:lnTo>
                <a:lnTo>
                  <a:pt x="5122" y="312"/>
                </a:lnTo>
                <a:lnTo>
                  <a:pt x="5124" y="299"/>
                </a:lnTo>
                <a:lnTo>
                  <a:pt x="5120" y="283"/>
                </a:lnTo>
                <a:lnTo>
                  <a:pt x="5105" y="270"/>
                </a:lnTo>
                <a:lnTo>
                  <a:pt x="5085" y="262"/>
                </a:lnTo>
                <a:lnTo>
                  <a:pt x="5055" y="259"/>
                </a:lnTo>
                <a:lnTo>
                  <a:pt x="5024" y="262"/>
                </a:lnTo>
                <a:lnTo>
                  <a:pt x="5000" y="272"/>
                </a:lnTo>
                <a:lnTo>
                  <a:pt x="4990" y="279"/>
                </a:lnTo>
                <a:lnTo>
                  <a:pt x="4985" y="288"/>
                </a:lnTo>
                <a:lnTo>
                  <a:pt x="4979" y="299"/>
                </a:lnTo>
                <a:lnTo>
                  <a:pt x="4976" y="312"/>
                </a:lnTo>
                <a:lnTo>
                  <a:pt x="4859" y="312"/>
                </a:lnTo>
                <a:close/>
                <a:moveTo>
                  <a:pt x="5128" y="407"/>
                </a:moveTo>
                <a:lnTo>
                  <a:pt x="5079" y="420"/>
                </a:lnTo>
                <a:lnTo>
                  <a:pt x="5033" y="431"/>
                </a:lnTo>
                <a:lnTo>
                  <a:pt x="5001" y="440"/>
                </a:lnTo>
                <a:lnTo>
                  <a:pt x="4981" y="451"/>
                </a:lnTo>
                <a:lnTo>
                  <a:pt x="4968" y="466"/>
                </a:lnTo>
                <a:lnTo>
                  <a:pt x="4964" y="484"/>
                </a:lnTo>
                <a:lnTo>
                  <a:pt x="4970" y="503"/>
                </a:lnTo>
                <a:lnTo>
                  <a:pt x="4983" y="518"/>
                </a:lnTo>
                <a:lnTo>
                  <a:pt x="5003" y="527"/>
                </a:lnTo>
                <a:lnTo>
                  <a:pt x="5031" y="531"/>
                </a:lnTo>
                <a:lnTo>
                  <a:pt x="5063" y="527"/>
                </a:lnTo>
                <a:lnTo>
                  <a:pt x="5076" y="523"/>
                </a:lnTo>
                <a:lnTo>
                  <a:pt x="5089" y="518"/>
                </a:lnTo>
                <a:lnTo>
                  <a:pt x="5111" y="499"/>
                </a:lnTo>
                <a:lnTo>
                  <a:pt x="5128" y="475"/>
                </a:lnTo>
                <a:lnTo>
                  <a:pt x="5128" y="407"/>
                </a:lnTo>
                <a:close/>
                <a:moveTo>
                  <a:pt x="5506" y="619"/>
                </a:moveTo>
                <a:lnTo>
                  <a:pt x="5374" y="619"/>
                </a:lnTo>
                <a:lnTo>
                  <a:pt x="5374" y="1"/>
                </a:lnTo>
                <a:lnTo>
                  <a:pt x="5506" y="1"/>
                </a:lnTo>
                <a:lnTo>
                  <a:pt x="5506" y="619"/>
                </a:lnTo>
                <a:close/>
                <a:moveTo>
                  <a:pt x="5849" y="270"/>
                </a:moveTo>
                <a:lnTo>
                  <a:pt x="5767" y="270"/>
                </a:lnTo>
                <a:lnTo>
                  <a:pt x="5767" y="444"/>
                </a:lnTo>
                <a:lnTo>
                  <a:pt x="5769" y="486"/>
                </a:lnTo>
                <a:lnTo>
                  <a:pt x="5773" y="508"/>
                </a:lnTo>
                <a:lnTo>
                  <a:pt x="5776" y="514"/>
                </a:lnTo>
                <a:lnTo>
                  <a:pt x="5784" y="518"/>
                </a:lnTo>
                <a:lnTo>
                  <a:pt x="5800" y="519"/>
                </a:lnTo>
                <a:lnTo>
                  <a:pt x="5849" y="519"/>
                </a:lnTo>
                <a:lnTo>
                  <a:pt x="5849" y="619"/>
                </a:lnTo>
                <a:lnTo>
                  <a:pt x="5767" y="619"/>
                </a:lnTo>
                <a:lnTo>
                  <a:pt x="5730" y="618"/>
                </a:lnTo>
                <a:lnTo>
                  <a:pt x="5700" y="612"/>
                </a:lnTo>
                <a:lnTo>
                  <a:pt x="5678" y="603"/>
                </a:lnTo>
                <a:lnTo>
                  <a:pt x="5661" y="590"/>
                </a:lnTo>
                <a:lnTo>
                  <a:pt x="5648" y="571"/>
                </a:lnTo>
                <a:lnTo>
                  <a:pt x="5641" y="549"/>
                </a:lnTo>
                <a:lnTo>
                  <a:pt x="5637" y="518"/>
                </a:lnTo>
                <a:lnTo>
                  <a:pt x="5635" y="473"/>
                </a:lnTo>
                <a:lnTo>
                  <a:pt x="5635" y="270"/>
                </a:lnTo>
                <a:lnTo>
                  <a:pt x="5572" y="270"/>
                </a:lnTo>
                <a:lnTo>
                  <a:pt x="5572" y="177"/>
                </a:lnTo>
                <a:lnTo>
                  <a:pt x="5635" y="177"/>
                </a:lnTo>
                <a:lnTo>
                  <a:pt x="5635" y="35"/>
                </a:lnTo>
                <a:lnTo>
                  <a:pt x="5767" y="35"/>
                </a:lnTo>
                <a:lnTo>
                  <a:pt x="5767" y="177"/>
                </a:lnTo>
                <a:lnTo>
                  <a:pt x="5849" y="177"/>
                </a:lnTo>
                <a:lnTo>
                  <a:pt x="5849" y="270"/>
                </a:lnTo>
                <a:close/>
                <a:moveTo>
                  <a:pt x="6377" y="399"/>
                </a:moveTo>
                <a:lnTo>
                  <a:pt x="6373" y="447"/>
                </a:lnTo>
                <a:lnTo>
                  <a:pt x="6360" y="492"/>
                </a:lnTo>
                <a:lnTo>
                  <a:pt x="6338" y="531"/>
                </a:lnTo>
                <a:lnTo>
                  <a:pt x="6325" y="549"/>
                </a:lnTo>
                <a:lnTo>
                  <a:pt x="6310" y="566"/>
                </a:lnTo>
                <a:lnTo>
                  <a:pt x="6294" y="581"/>
                </a:lnTo>
                <a:lnTo>
                  <a:pt x="6275" y="593"/>
                </a:lnTo>
                <a:lnTo>
                  <a:pt x="6234" y="614"/>
                </a:lnTo>
                <a:lnTo>
                  <a:pt x="6190" y="627"/>
                </a:lnTo>
                <a:lnTo>
                  <a:pt x="6164" y="630"/>
                </a:lnTo>
                <a:lnTo>
                  <a:pt x="6140" y="630"/>
                </a:lnTo>
                <a:lnTo>
                  <a:pt x="6090" y="627"/>
                </a:lnTo>
                <a:lnTo>
                  <a:pt x="6043" y="614"/>
                </a:lnTo>
                <a:lnTo>
                  <a:pt x="6002" y="593"/>
                </a:lnTo>
                <a:lnTo>
                  <a:pt x="5984" y="581"/>
                </a:lnTo>
                <a:lnTo>
                  <a:pt x="5967" y="566"/>
                </a:lnTo>
                <a:lnTo>
                  <a:pt x="5952" y="549"/>
                </a:lnTo>
                <a:lnTo>
                  <a:pt x="5939" y="531"/>
                </a:lnTo>
                <a:lnTo>
                  <a:pt x="5919" y="490"/>
                </a:lnTo>
                <a:lnTo>
                  <a:pt x="5906" y="445"/>
                </a:lnTo>
                <a:lnTo>
                  <a:pt x="5902" y="420"/>
                </a:lnTo>
                <a:lnTo>
                  <a:pt x="5902" y="396"/>
                </a:lnTo>
                <a:lnTo>
                  <a:pt x="5906" y="346"/>
                </a:lnTo>
                <a:lnTo>
                  <a:pt x="5919" y="299"/>
                </a:lnTo>
                <a:lnTo>
                  <a:pt x="5939" y="260"/>
                </a:lnTo>
                <a:lnTo>
                  <a:pt x="5952" y="242"/>
                </a:lnTo>
                <a:lnTo>
                  <a:pt x="5967" y="225"/>
                </a:lnTo>
                <a:lnTo>
                  <a:pt x="5984" y="210"/>
                </a:lnTo>
                <a:lnTo>
                  <a:pt x="6002" y="198"/>
                </a:lnTo>
                <a:lnTo>
                  <a:pt x="6043" y="177"/>
                </a:lnTo>
                <a:lnTo>
                  <a:pt x="6090" y="164"/>
                </a:lnTo>
                <a:lnTo>
                  <a:pt x="6114" y="161"/>
                </a:lnTo>
                <a:lnTo>
                  <a:pt x="6140" y="159"/>
                </a:lnTo>
                <a:lnTo>
                  <a:pt x="6190" y="164"/>
                </a:lnTo>
                <a:lnTo>
                  <a:pt x="6236" y="177"/>
                </a:lnTo>
                <a:lnTo>
                  <a:pt x="6277" y="198"/>
                </a:lnTo>
                <a:lnTo>
                  <a:pt x="6295" y="210"/>
                </a:lnTo>
                <a:lnTo>
                  <a:pt x="6312" y="225"/>
                </a:lnTo>
                <a:lnTo>
                  <a:pt x="6327" y="242"/>
                </a:lnTo>
                <a:lnTo>
                  <a:pt x="6340" y="260"/>
                </a:lnTo>
                <a:lnTo>
                  <a:pt x="6360" y="301"/>
                </a:lnTo>
                <a:lnTo>
                  <a:pt x="6373" y="347"/>
                </a:lnTo>
                <a:lnTo>
                  <a:pt x="6377" y="371"/>
                </a:lnTo>
                <a:lnTo>
                  <a:pt x="6377" y="399"/>
                </a:lnTo>
                <a:close/>
                <a:moveTo>
                  <a:pt x="6034" y="396"/>
                </a:moveTo>
                <a:lnTo>
                  <a:pt x="6036" y="425"/>
                </a:lnTo>
                <a:lnTo>
                  <a:pt x="6041" y="451"/>
                </a:lnTo>
                <a:lnTo>
                  <a:pt x="6051" y="473"/>
                </a:lnTo>
                <a:lnTo>
                  <a:pt x="6062" y="492"/>
                </a:lnTo>
                <a:lnTo>
                  <a:pt x="6077" y="507"/>
                </a:lnTo>
                <a:lnTo>
                  <a:pt x="6095" y="518"/>
                </a:lnTo>
                <a:lnTo>
                  <a:pt x="6116" y="523"/>
                </a:lnTo>
                <a:lnTo>
                  <a:pt x="6140" y="527"/>
                </a:lnTo>
                <a:lnTo>
                  <a:pt x="6164" y="523"/>
                </a:lnTo>
                <a:lnTo>
                  <a:pt x="6184" y="518"/>
                </a:lnTo>
                <a:lnTo>
                  <a:pt x="6203" y="507"/>
                </a:lnTo>
                <a:lnTo>
                  <a:pt x="6218" y="492"/>
                </a:lnTo>
                <a:lnTo>
                  <a:pt x="6223" y="484"/>
                </a:lnTo>
                <a:lnTo>
                  <a:pt x="6229" y="473"/>
                </a:lnTo>
                <a:lnTo>
                  <a:pt x="6238" y="453"/>
                </a:lnTo>
                <a:lnTo>
                  <a:pt x="6243" y="427"/>
                </a:lnTo>
                <a:lnTo>
                  <a:pt x="6245" y="397"/>
                </a:lnTo>
                <a:lnTo>
                  <a:pt x="6243" y="368"/>
                </a:lnTo>
                <a:lnTo>
                  <a:pt x="6238" y="340"/>
                </a:lnTo>
                <a:lnTo>
                  <a:pt x="6231" y="318"/>
                </a:lnTo>
                <a:lnTo>
                  <a:pt x="6218" y="299"/>
                </a:lnTo>
                <a:lnTo>
                  <a:pt x="6203" y="283"/>
                </a:lnTo>
                <a:lnTo>
                  <a:pt x="6184" y="273"/>
                </a:lnTo>
                <a:lnTo>
                  <a:pt x="6164" y="266"/>
                </a:lnTo>
                <a:lnTo>
                  <a:pt x="6140" y="264"/>
                </a:lnTo>
                <a:lnTo>
                  <a:pt x="6116" y="266"/>
                </a:lnTo>
                <a:lnTo>
                  <a:pt x="6095" y="273"/>
                </a:lnTo>
                <a:lnTo>
                  <a:pt x="6077" y="283"/>
                </a:lnTo>
                <a:lnTo>
                  <a:pt x="6062" y="297"/>
                </a:lnTo>
                <a:lnTo>
                  <a:pt x="6056" y="307"/>
                </a:lnTo>
                <a:lnTo>
                  <a:pt x="6051" y="316"/>
                </a:lnTo>
                <a:lnTo>
                  <a:pt x="6041" y="340"/>
                </a:lnTo>
                <a:lnTo>
                  <a:pt x="6036" y="366"/>
                </a:lnTo>
                <a:lnTo>
                  <a:pt x="6034" y="396"/>
                </a:lnTo>
                <a:close/>
                <a:moveTo>
                  <a:pt x="7254" y="1"/>
                </a:moveTo>
                <a:lnTo>
                  <a:pt x="7254" y="420"/>
                </a:lnTo>
                <a:lnTo>
                  <a:pt x="7250" y="471"/>
                </a:lnTo>
                <a:lnTo>
                  <a:pt x="7245" y="495"/>
                </a:lnTo>
                <a:lnTo>
                  <a:pt x="7239" y="516"/>
                </a:lnTo>
                <a:lnTo>
                  <a:pt x="7217" y="551"/>
                </a:lnTo>
                <a:lnTo>
                  <a:pt x="7187" y="581"/>
                </a:lnTo>
                <a:lnTo>
                  <a:pt x="7169" y="592"/>
                </a:lnTo>
                <a:lnTo>
                  <a:pt x="7148" y="603"/>
                </a:lnTo>
                <a:lnTo>
                  <a:pt x="7128" y="612"/>
                </a:lnTo>
                <a:lnTo>
                  <a:pt x="7105" y="619"/>
                </a:lnTo>
                <a:lnTo>
                  <a:pt x="7057" y="629"/>
                </a:lnTo>
                <a:lnTo>
                  <a:pt x="7005" y="632"/>
                </a:lnTo>
                <a:lnTo>
                  <a:pt x="6953" y="629"/>
                </a:lnTo>
                <a:lnTo>
                  <a:pt x="6907" y="619"/>
                </a:lnTo>
                <a:lnTo>
                  <a:pt x="6863" y="603"/>
                </a:lnTo>
                <a:lnTo>
                  <a:pt x="6824" y="581"/>
                </a:lnTo>
                <a:lnTo>
                  <a:pt x="6809" y="566"/>
                </a:lnTo>
                <a:lnTo>
                  <a:pt x="6794" y="551"/>
                </a:lnTo>
                <a:lnTo>
                  <a:pt x="6783" y="534"/>
                </a:lnTo>
                <a:lnTo>
                  <a:pt x="6774" y="516"/>
                </a:lnTo>
                <a:lnTo>
                  <a:pt x="6761" y="471"/>
                </a:lnTo>
                <a:lnTo>
                  <a:pt x="6757" y="420"/>
                </a:lnTo>
                <a:lnTo>
                  <a:pt x="6757" y="1"/>
                </a:lnTo>
                <a:lnTo>
                  <a:pt x="6896" y="1"/>
                </a:lnTo>
                <a:lnTo>
                  <a:pt x="6896" y="410"/>
                </a:lnTo>
                <a:lnTo>
                  <a:pt x="6898" y="436"/>
                </a:lnTo>
                <a:lnTo>
                  <a:pt x="6902" y="457"/>
                </a:lnTo>
                <a:lnTo>
                  <a:pt x="6911" y="473"/>
                </a:lnTo>
                <a:lnTo>
                  <a:pt x="6922" y="488"/>
                </a:lnTo>
                <a:lnTo>
                  <a:pt x="6939" y="499"/>
                </a:lnTo>
                <a:lnTo>
                  <a:pt x="6959" y="508"/>
                </a:lnTo>
                <a:lnTo>
                  <a:pt x="6981" y="514"/>
                </a:lnTo>
                <a:lnTo>
                  <a:pt x="7005" y="516"/>
                </a:lnTo>
                <a:lnTo>
                  <a:pt x="7031" y="514"/>
                </a:lnTo>
                <a:lnTo>
                  <a:pt x="7054" y="508"/>
                </a:lnTo>
                <a:lnTo>
                  <a:pt x="7072" y="499"/>
                </a:lnTo>
                <a:lnTo>
                  <a:pt x="7091" y="488"/>
                </a:lnTo>
                <a:lnTo>
                  <a:pt x="7102" y="473"/>
                </a:lnTo>
                <a:lnTo>
                  <a:pt x="7109" y="457"/>
                </a:lnTo>
                <a:lnTo>
                  <a:pt x="7113" y="436"/>
                </a:lnTo>
                <a:lnTo>
                  <a:pt x="7115" y="410"/>
                </a:lnTo>
                <a:lnTo>
                  <a:pt x="7115" y="1"/>
                </a:lnTo>
                <a:lnTo>
                  <a:pt x="7254" y="1"/>
                </a:lnTo>
                <a:close/>
                <a:moveTo>
                  <a:pt x="7510" y="172"/>
                </a:moveTo>
                <a:lnTo>
                  <a:pt x="7510" y="214"/>
                </a:lnTo>
                <a:lnTo>
                  <a:pt x="7543" y="188"/>
                </a:lnTo>
                <a:lnTo>
                  <a:pt x="7573" y="170"/>
                </a:lnTo>
                <a:lnTo>
                  <a:pt x="7600" y="161"/>
                </a:lnTo>
                <a:lnTo>
                  <a:pt x="7634" y="159"/>
                </a:lnTo>
                <a:lnTo>
                  <a:pt x="7667" y="162"/>
                </a:lnTo>
                <a:lnTo>
                  <a:pt x="7699" y="170"/>
                </a:lnTo>
                <a:lnTo>
                  <a:pt x="7725" y="185"/>
                </a:lnTo>
                <a:lnTo>
                  <a:pt x="7749" y="205"/>
                </a:lnTo>
                <a:lnTo>
                  <a:pt x="7765" y="229"/>
                </a:lnTo>
                <a:lnTo>
                  <a:pt x="7778" y="259"/>
                </a:lnTo>
                <a:lnTo>
                  <a:pt x="7788" y="292"/>
                </a:lnTo>
                <a:lnTo>
                  <a:pt x="7790" y="329"/>
                </a:lnTo>
                <a:lnTo>
                  <a:pt x="7790" y="619"/>
                </a:lnTo>
                <a:lnTo>
                  <a:pt x="7658" y="619"/>
                </a:lnTo>
                <a:lnTo>
                  <a:pt x="7658" y="375"/>
                </a:lnTo>
                <a:lnTo>
                  <a:pt x="7658" y="346"/>
                </a:lnTo>
                <a:lnTo>
                  <a:pt x="7656" y="325"/>
                </a:lnTo>
                <a:lnTo>
                  <a:pt x="7650" y="309"/>
                </a:lnTo>
                <a:lnTo>
                  <a:pt x="7645" y="296"/>
                </a:lnTo>
                <a:lnTo>
                  <a:pt x="7634" y="284"/>
                </a:lnTo>
                <a:lnTo>
                  <a:pt x="7621" y="277"/>
                </a:lnTo>
                <a:lnTo>
                  <a:pt x="7606" y="272"/>
                </a:lnTo>
                <a:lnTo>
                  <a:pt x="7591" y="270"/>
                </a:lnTo>
                <a:lnTo>
                  <a:pt x="7560" y="275"/>
                </a:lnTo>
                <a:lnTo>
                  <a:pt x="7545" y="283"/>
                </a:lnTo>
                <a:lnTo>
                  <a:pt x="7534" y="294"/>
                </a:lnTo>
                <a:lnTo>
                  <a:pt x="7524" y="307"/>
                </a:lnTo>
                <a:lnTo>
                  <a:pt x="7519" y="323"/>
                </a:lnTo>
                <a:lnTo>
                  <a:pt x="7515" y="342"/>
                </a:lnTo>
                <a:lnTo>
                  <a:pt x="7513" y="368"/>
                </a:lnTo>
                <a:lnTo>
                  <a:pt x="7513" y="619"/>
                </a:lnTo>
                <a:lnTo>
                  <a:pt x="7382" y="619"/>
                </a:lnTo>
                <a:lnTo>
                  <a:pt x="7382" y="172"/>
                </a:lnTo>
                <a:lnTo>
                  <a:pt x="7510" y="172"/>
                </a:lnTo>
                <a:close/>
                <a:moveTo>
                  <a:pt x="8038" y="109"/>
                </a:moveTo>
                <a:lnTo>
                  <a:pt x="7906" y="109"/>
                </a:lnTo>
                <a:lnTo>
                  <a:pt x="7906" y="1"/>
                </a:lnTo>
                <a:lnTo>
                  <a:pt x="8038" y="1"/>
                </a:lnTo>
                <a:lnTo>
                  <a:pt x="8038" y="109"/>
                </a:lnTo>
                <a:close/>
                <a:moveTo>
                  <a:pt x="8038" y="619"/>
                </a:moveTo>
                <a:lnTo>
                  <a:pt x="7906" y="619"/>
                </a:lnTo>
                <a:lnTo>
                  <a:pt x="7906" y="172"/>
                </a:lnTo>
                <a:lnTo>
                  <a:pt x="8038" y="172"/>
                </a:lnTo>
                <a:lnTo>
                  <a:pt x="8038" y="619"/>
                </a:lnTo>
                <a:close/>
                <a:moveTo>
                  <a:pt x="8262" y="619"/>
                </a:moveTo>
                <a:lnTo>
                  <a:pt x="8101" y="172"/>
                </a:lnTo>
                <a:lnTo>
                  <a:pt x="8240" y="172"/>
                </a:lnTo>
                <a:lnTo>
                  <a:pt x="8290" y="344"/>
                </a:lnTo>
                <a:lnTo>
                  <a:pt x="8325" y="471"/>
                </a:lnTo>
                <a:lnTo>
                  <a:pt x="8353" y="344"/>
                </a:lnTo>
                <a:lnTo>
                  <a:pt x="8399" y="172"/>
                </a:lnTo>
                <a:lnTo>
                  <a:pt x="8540" y="172"/>
                </a:lnTo>
                <a:lnTo>
                  <a:pt x="8388" y="619"/>
                </a:lnTo>
                <a:lnTo>
                  <a:pt x="8262" y="619"/>
                </a:lnTo>
                <a:close/>
                <a:moveTo>
                  <a:pt x="8703" y="434"/>
                </a:moveTo>
                <a:lnTo>
                  <a:pt x="8707" y="455"/>
                </a:lnTo>
                <a:lnTo>
                  <a:pt x="8715" y="475"/>
                </a:lnTo>
                <a:lnTo>
                  <a:pt x="8737" y="505"/>
                </a:lnTo>
                <a:lnTo>
                  <a:pt x="8750" y="514"/>
                </a:lnTo>
                <a:lnTo>
                  <a:pt x="8766" y="521"/>
                </a:lnTo>
                <a:lnTo>
                  <a:pt x="8785" y="527"/>
                </a:lnTo>
                <a:lnTo>
                  <a:pt x="8805" y="529"/>
                </a:lnTo>
                <a:lnTo>
                  <a:pt x="8829" y="525"/>
                </a:lnTo>
                <a:lnTo>
                  <a:pt x="8850" y="519"/>
                </a:lnTo>
                <a:lnTo>
                  <a:pt x="8868" y="507"/>
                </a:lnTo>
                <a:lnTo>
                  <a:pt x="8883" y="488"/>
                </a:lnTo>
                <a:lnTo>
                  <a:pt x="9017" y="488"/>
                </a:lnTo>
                <a:lnTo>
                  <a:pt x="9004" y="519"/>
                </a:lnTo>
                <a:lnTo>
                  <a:pt x="8987" y="547"/>
                </a:lnTo>
                <a:lnTo>
                  <a:pt x="8965" y="571"/>
                </a:lnTo>
                <a:lnTo>
                  <a:pt x="8939" y="592"/>
                </a:lnTo>
                <a:lnTo>
                  <a:pt x="8909" y="608"/>
                </a:lnTo>
                <a:lnTo>
                  <a:pt x="8876" y="621"/>
                </a:lnTo>
                <a:lnTo>
                  <a:pt x="8841" y="629"/>
                </a:lnTo>
                <a:lnTo>
                  <a:pt x="8802" y="630"/>
                </a:lnTo>
                <a:lnTo>
                  <a:pt x="8752" y="627"/>
                </a:lnTo>
                <a:lnTo>
                  <a:pt x="8707" y="614"/>
                </a:lnTo>
                <a:lnTo>
                  <a:pt x="8668" y="593"/>
                </a:lnTo>
                <a:lnTo>
                  <a:pt x="8650" y="581"/>
                </a:lnTo>
                <a:lnTo>
                  <a:pt x="8635" y="566"/>
                </a:lnTo>
                <a:lnTo>
                  <a:pt x="8607" y="532"/>
                </a:lnTo>
                <a:lnTo>
                  <a:pt x="8587" y="492"/>
                </a:lnTo>
                <a:lnTo>
                  <a:pt x="8576" y="445"/>
                </a:lnTo>
                <a:lnTo>
                  <a:pt x="8572" y="421"/>
                </a:lnTo>
                <a:lnTo>
                  <a:pt x="8570" y="396"/>
                </a:lnTo>
                <a:lnTo>
                  <a:pt x="8576" y="346"/>
                </a:lnTo>
                <a:lnTo>
                  <a:pt x="8588" y="299"/>
                </a:lnTo>
                <a:lnTo>
                  <a:pt x="8607" y="259"/>
                </a:lnTo>
                <a:lnTo>
                  <a:pt x="8620" y="242"/>
                </a:lnTo>
                <a:lnTo>
                  <a:pt x="8635" y="225"/>
                </a:lnTo>
                <a:lnTo>
                  <a:pt x="8650" y="210"/>
                </a:lnTo>
                <a:lnTo>
                  <a:pt x="8668" y="198"/>
                </a:lnTo>
                <a:lnTo>
                  <a:pt x="8707" y="177"/>
                </a:lnTo>
                <a:lnTo>
                  <a:pt x="8752" y="164"/>
                </a:lnTo>
                <a:lnTo>
                  <a:pt x="8776" y="161"/>
                </a:lnTo>
                <a:lnTo>
                  <a:pt x="8800" y="159"/>
                </a:lnTo>
                <a:lnTo>
                  <a:pt x="8835" y="162"/>
                </a:lnTo>
                <a:lnTo>
                  <a:pt x="8867" y="168"/>
                </a:lnTo>
                <a:lnTo>
                  <a:pt x="8896" y="179"/>
                </a:lnTo>
                <a:lnTo>
                  <a:pt x="8922" y="194"/>
                </a:lnTo>
                <a:lnTo>
                  <a:pt x="8946" y="212"/>
                </a:lnTo>
                <a:lnTo>
                  <a:pt x="8969" y="235"/>
                </a:lnTo>
                <a:lnTo>
                  <a:pt x="8985" y="260"/>
                </a:lnTo>
                <a:lnTo>
                  <a:pt x="9000" y="290"/>
                </a:lnTo>
                <a:lnTo>
                  <a:pt x="9009" y="322"/>
                </a:lnTo>
                <a:lnTo>
                  <a:pt x="9017" y="353"/>
                </a:lnTo>
                <a:lnTo>
                  <a:pt x="9020" y="390"/>
                </a:lnTo>
                <a:lnTo>
                  <a:pt x="9022" y="434"/>
                </a:lnTo>
                <a:lnTo>
                  <a:pt x="8703" y="434"/>
                </a:lnTo>
                <a:close/>
                <a:moveTo>
                  <a:pt x="8887" y="342"/>
                </a:moveTo>
                <a:lnTo>
                  <a:pt x="8883" y="322"/>
                </a:lnTo>
                <a:lnTo>
                  <a:pt x="8878" y="307"/>
                </a:lnTo>
                <a:lnTo>
                  <a:pt x="8870" y="292"/>
                </a:lnTo>
                <a:lnTo>
                  <a:pt x="8859" y="281"/>
                </a:lnTo>
                <a:lnTo>
                  <a:pt x="8848" y="272"/>
                </a:lnTo>
                <a:lnTo>
                  <a:pt x="8833" y="264"/>
                </a:lnTo>
                <a:lnTo>
                  <a:pt x="8817" y="260"/>
                </a:lnTo>
                <a:lnTo>
                  <a:pt x="8800" y="259"/>
                </a:lnTo>
                <a:lnTo>
                  <a:pt x="8765" y="264"/>
                </a:lnTo>
                <a:lnTo>
                  <a:pt x="8737" y="281"/>
                </a:lnTo>
                <a:lnTo>
                  <a:pt x="8726" y="292"/>
                </a:lnTo>
                <a:lnTo>
                  <a:pt x="8716" y="307"/>
                </a:lnTo>
                <a:lnTo>
                  <a:pt x="8709" y="322"/>
                </a:lnTo>
                <a:lnTo>
                  <a:pt x="8705" y="342"/>
                </a:lnTo>
                <a:lnTo>
                  <a:pt x="8887" y="342"/>
                </a:lnTo>
                <a:close/>
                <a:moveTo>
                  <a:pt x="9247" y="172"/>
                </a:moveTo>
                <a:lnTo>
                  <a:pt x="9243" y="251"/>
                </a:lnTo>
                <a:lnTo>
                  <a:pt x="9252" y="227"/>
                </a:lnTo>
                <a:lnTo>
                  <a:pt x="9263" y="207"/>
                </a:lnTo>
                <a:lnTo>
                  <a:pt x="9278" y="190"/>
                </a:lnTo>
                <a:lnTo>
                  <a:pt x="9293" y="177"/>
                </a:lnTo>
                <a:lnTo>
                  <a:pt x="9313" y="170"/>
                </a:lnTo>
                <a:lnTo>
                  <a:pt x="9336" y="162"/>
                </a:lnTo>
                <a:lnTo>
                  <a:pt x="9363" y="161"/>
                </a:lnTo>
                <a:lnTo>
                  <a:pt x="9397" y="159"/>
                </a:lnTo>
                <a:lnTo>
                  <a:pt x="9397" y="283"/>
                </a:lnTo>
                <a:lnTo>
                  <a:pt x="9363" y="281"/>
                </a:lnTo>
                <a:lnTo>
                  <a:pt x="9332" y="284"/>
                </a:lnTo>
                <a:lnTo>
                  <a:pt x="9317" y="290"/>
                </a:lnTo>
                <a:lnTo>
                  <a:pt x="9304" y="296"/>
                </a:lnTo>
                <a:lnTo>
                  <a:pt x="9282" y="312"/>
                </a:lnTo>
                <a:lnTo>
                  <a:pt x="9267" y="336"/>
                </a:lnTo>
                <a:lnTo>
                  <a:pt x="9258" y="360"/>
                </a:lnTo>
                <a:lnTo>
                  <a:pt x="9252" y="394"/>
                </a:lnTo>
                <a:lnTo>
                  <a:pt x="9248" y="494"/>
                </a:lnTo>
                <a:lnTo>
                  <a:pt x="9248" y="619"/>
                </a:lnTo>
                <a:lnTo>
                  <a:pt x="9117" y="619"/>
                </a:lnTo>
                <a:lnTo>
                  <a:pt x="9117" y="172"/>
                </a:lnTo>
                <a:lnTo>
                  <a:pt x="9247" y="172"/>
                </a:lnTo>
                <a:close/>
                <a:moveTo>
                  <a:pt x="9721" y="305"/>
                </a:moveTo>
                <a:lnTo>
                  <a:pt x="9714" y="284"/>
                </a:lnTo>
                <a:lnTo>
                  <a:pt x="9699" y="268"/>
                </a:lnTo>
                <a:lnTo>
                  <a:pt x="9675" y="259"/>
                </a:lnTo>
                <a:lnTo>
                  <a:pt x="9645" y="255"/>
                </a:lnTo>
                <a:lnTo>
                  <a:pt x="9619" y="257"/>
                </a:lnTo>
                <a:lnTo>
                  <a:pt x="9601" y="264"/>
                </a:lnTo>
                <a:lnTo>
                  <a:pt x="9588" y="277"/>
                </a:lnTo>
                <a:lnTo>
                  <a:pt x="9584" y="284"/>
                </a:lnTo>
                <a:lnTo>
                  <a:pt x="9582" y="292"/>
                </a:lnTo>
                <a:lnTo>
                  <a:pt x="9586" y="303"/>
                </a:lnTo>
                <a:lnTo>
                  <a:pt x="9595" y="312"/>
                </a:lnTo>
                <a:lnTo>
                  <a:pt x="9612" y="320"/>
                </a:lnTo>
                <a:lnTo>
                  <a:pt x="9638" y="327"/>
                </a:lnTo>
                <a:lnTo>
                  <a:pt x="9719" y="344"/>
                </a:lnTo>
                <a:lnTo>
                  <a:pt x="9756" y="353"/>
                </a:lnTo>
                <a:lnTo>
                  <a:pt x="9784" y="362"/>
                </a:lnTo>
                <a:lnTo>
                  <a:pt x="9806" y="373"/>
                </a:lnTo>
                <a:lnTo>
                  <a:pt x="9821" y="388"/>
                </a:lnTo>
                <a:lnTo>
                  <a:pt x="9836" y="405"/>
                </a:lnTo>
                <a:lnTo>
                  <a:pt x="9847" y="427"/>
                </a:lnTo>
                <a:lnTo>
                  <a:pt x="9853" y="451"/>
                </a:lnTo>
                <a:lnTo>
                  <a:pt x="9855" y="477"/>
                </a:lnTo>
                <a:lnTo>
                  <a:pt x="9853" y="510"/>
                </a:lnTo>
                <a:lnTo>
                  <a:pt x="9847" y="527"/>
                </a:lnTo>
                <a:lnTo>
                  <a:pt x="9842" y="542"/>
                </a:lnTo>
                <a:lnTo>
                  <a:pt x="9825" y="568"/>
                </a:lnTo>
                <a:lnTo>
                  <a:pt x="9801" y="590"/>
                </a:lnTo>
                <a:lnTo>
                  <a:pt x="9773" y="606"/>
                </a:lnTo>
                <a:lnTo>
                  <a:pt x="9738" y="619"/>
                </a:lnTo>
                <a:lnTo>
                  <a:pt x="9699" y="629"/>
                </a:lnTo>
                <a:lnTo>
                  <a:pt x="9654" y="630"/>
                </a:lnTo>
                <a:lnTo>
                  <a:pt x="9610" y="629"/>
                </a:lnTo>
                <a:lnTo>
                  <a:pt x="9569" y="619"/>
                </a:lnTo>
                <a:lnTo>
                  <a:pt x="9536" y="606"/>
                </a:lnTo>
                <a:lnTo>
                  <a:pt x="9506" y="590"/>
                </a:lnTo>
                <a:lnTo>
                  <a:pt x="9482" y="568"/>
                </a:lnTo>
                <a:lnTo>
                  <a:pt x="9463" y="540"/>
                </a:lnTo>
                <a:lnTo>
                  <a:pt x="9450" y="508"/>
                </a:lnTo>
                <a:lnTo>
                  <a:pt x="9447" y="492"/>
                </a:lnTo>
                <a:lnTo>
                  <a:pt x="9445" y="473"/>
                </a:lnTo>
                <a:lnTo>
                  <a:pt x="9569" y="473"/>
                </a:lnTo>
                <a:lnTo>
                  <a:pt x="9578" y="501"/>
                </a:lnTo>
                <a:lnTo>
                  <a:pt x="9586" y="512"/>
                </a:lnTo>
                <a:lnTo>
                  <a:pt x="9595" y="521"/>
                </a:lnTo>
                <a:lnTo>
                  <a:pt x="9608" y="527"/>
                </a:lnTo>
                <a:lnTo>
                  <a:pt x="9621" y="532"/>
                </a:lnTo>
                <a:lnTo>
                  <a:pt x="9656" y="536"/>
                </a:lnTo>
                <a:lnTo>
                  <a:pt x="9686" y="532"/>
                </a:lnTo>
                <a:lnTo>
                  <a:pt x="9706" y="523"/>
                </a:lnTo>
                <a:lnTo>
                  <a:pt x="9721" y="510"/>
                </a:lnTo>
                <a:lnTo>
                  <a:pt x="9725" y="501"/>
                </a:lnTo>
                <a:lnTo>
                  <a:pt x="9725" y="492"/>
                </a:lnTo>
                <a:lnTo>
                  <a:pt x="9725" y="484"/>
                </a:lnTo>
                <a:lnTo>
                  <a:pt x="9723" y="477"/>
                </a:lnTo>
                <a:lnTo>
                  <a:pt x="9714" y="466"/>
                </a:lnTo>
                <a:lnTo>
                  <a:pt x="9699" y="458"/>
                </a:lnTo>
                <a:lnTo>
                  <a:pt x="9675" y="451"/>
                </a:lnTo>
                <a:lnTo>
                  <a:pt x="9593" y="433"/>
                </a:lnTo>
                <a:lnTo>
                  <a:pt x="9530" y="414"/>
                </a:lnTo>
                <a:lnTo>
                  <a:pt x="9508" y="401"/>
                </a:lnTo>
                <a:lnTo>
                  <a:pt x="9489" y="386"/>
                </a:lnTo>
                <a:lnTo>
                  <a:pt x="9475" y="370"/>
                </a:lnTo>
                <a:lnTo>
                  <a:pt x="9465" y="351"/>
                </a:lnTo>
                <a:lnTo>
                  <a:pt x="9460" y="329"/>
                </a:lnTo>
                <a:lnTo>
                  <a:pt x="9458" y="303"/>
                </a:lnTo>
                <a:lnTo>
                  <a:pt x="9462" y="272"/>
                </a:lnTo>
                <a:lnTo>
                  <a:pt x="9471" y="244"/>
                </a:lnTo>
                <a:lnTo>
                  <a:pt x="9478" y="231"/>
                </a:lnTo>
                <a:lnTo>
                  <a:pt x="9486" y="218"/>
                </a:lnTo>
                <a:lnTo>
                  <a:pt x="9497" y="209"/>
                </a:lnTo>
                <a:lnTo>
                  <a:pt x="9508" y="198"/>
                </a:lnTo>
                <a:lnTo>
                  <a:pt x="9536" y="181"/>
                </a:lnTo>
                <a:lnTo>
                  <a:pt x="9567" y="170"/>
                </a:lnTo>
                <a:lnTo>
                  <a:pt x="9606" y="162"/>
                </a:lnTo>
                <a:lnTo>
                  <a:pt x="9649" y="159"/>
                </a:lnTo>
                <a:lnTo>
                  <a:pt x="9690" y="162"/>
                </a:lnTo>
                <a:lnTo>
                  <a:pt x="9727" y="170"/>
                </a:lnTo>
                <a:lnTo>
                  <a:pt x="9758" y="181"/>
                </a:lnTo>
                <a:lnTo>
                  <a:pt x="9786" y="198"/>
                </a:lnTo>
                <a:lnTo>
                  <a:pt x="9808" y="218"/>
                </a:lnTo>
                <a:lnTo>
                  <a:pt x="9818" y="231"/>
                </a:lnTo>
                <a:lnTo>
                  <a:pt x="9825" y="244"/>
                </a:lnTo>
                <a:lnTo>
                  <a:pt x="9838" y="272"/>
                </a:lnTo>
                <a:lnTo>
                  <a:pt x="9845" y="305"/>
                </a:lnTo>
                <a:lnTo>
                  <a:pt x="9721" y="305"/>
                </a:lnTo>
                <a:close/>
                <a:moveTo>
                  <a:pt x="10077" y="109"/>
                </a:moveTo>
                <a:lnTo>
                  <a:pt x="9945" y="109"/>
                </a:lnTo>
                <a:lnTo>
                  <a:pt x="9945" y="1"/>
                </a:lnTo>
                <a:lnTo>
                  <a:pt x="10077" y="1"/>
                </a:lnTo>
                <a:lnTo>
                  <a:pt x="10077" y="109"/>
                </a:lnTo>
                <a:close/>
                <a:moveTo>
                  <a:pt x="10077" y="619"/>
                </a:moveTo>
                <a:lnTo>
                  <a:pt x="9945" y="619"/>
                </a:lnTo>
                <a:lnTo>
                  <a:pt x="9945" y="172"/>
                </a:lnTo>
                <a:lnTo>
                  <a:pt x="10077" y="172"/>
                </a:lnTo>
                <a:lnTo>
                  <a:pt x="10077" y="619"/>
                </a:lnTo>
                <a:close/>
                <a:moveTo>
                  <a:pt x="10420" y="270"/>
                </a:moveTo>
                <a:lnTo>
                  <a:pt x="10338" y="270"/>
                </a:lnTo>
                <a:lnTo>
                  <a:pt x="10338" y="444"/>
                </a:lnTo>
                <a:lnTo>
                  <a:pt x="10340" y="486"/>
                </a:lnTo>
                <a:lnTo>
                  <a:pt x="10344" y="508"/>
                </a:lnTo>
                <a:lnTo>
                  <a:pt x="10350" y="514"/>
                </a:lnTo>
                <a:lnTo>
                  <a:pt x="10355" y="518"/>
                </a:lnTo>
                <a:lnTo>
                  <a:pt x="10372" y="519"/>
                </a:lnTo>
                <a:lnTo>
                  <a:pt x="10420" y="519"/>
                </a:lnTo>
                <a:lnTo>
                  <a:pt x="10420" y="619"/>
                </a:lnTo>
                <a:lnTo>
                  <a:pt x="10338" y="619"/>
                </a:lnTo>
                <a:lnTo>
                  <a:pt x="10301" y="618"/>
                </a:lnTo>
                <a:lnTo>
                  <a:pt x="10272" y="612"/>
                </a:lnTo>
                <a:lnTo>
                  <a:pt x="10249" y="603"/>
                </a:lnTo>
                <a:lnTo>
                  <a:pt x="10233" y="590"/>
                </a:lnTo>
                <a:lnTo>
                  <a:pt x="10222" y="571"/>
                </a:lnTo>
                <a:lnTo>
                  <a:pt x="10212" y="549"/>
                </a:lnTo>
                <a:lnTo>
                  <a:pt x="10209" y="518"/>
                </a:lnTo>
                <a:lnTo>
                  <a:pt x="10207" y="473"/>
                </a:lnTo>
                <a:lnTo>
                  <a:pt x="10207" y="270"/>
                </a:lnTo>
                <a:lnTo>
                  <a:pt x="10144" y="270"/>
                </a:lnTo>
                <a:lnTo>
                  <a:pt x="10144" y="177"/>
                </a:lnTo>
                <a:lnTo>
                  <a:pt x="10207" y="177"/>
                </a:lnTo>
                <a:lnTo>
                  <a:pt x="10207" y="35"/>
                </a:lnTo>
                <a:lnTo>
                  <a:pt x="10338" y="35"/>
                </a:lnTo>
                <a:lnTo>
                  <a:pt x="10338" y="177"/>
                </a:lnTo>
                <a:lnTo>
                  <a:pt x="10420" y="177"/>
                </a:lnTo>
                <a:lnTo>
                  <a:pt x="10420" y="270"/>
                </a:lnTo>
                <a:close/>
                <a:moveTo>
                  <a:pt x="10917" y="172"/>
                </a:moveTo>
                <a:lnTo>
                  <a:pt x="10761" y="623"/>
                </a:lnTo>
                <a:lnTo>
                  <a:pt x="10730" y="701"/>
                </a:lnTo>
                <a:lnTo>
                  <a:pt x="10715" y="723"/>
                </a:lnTo>
                <a:lnTo>
                  <a:pt x="10698" y="738"/>
                </a:lnTo>
                <a:lnTo>
                  <a:pt x="10681" y="749"/>
                </a:lnTo>
                <a:lnTo>
                  <a:pt x="10659" y="756"/>
                </a:lnTo>
                <a:lnTo>
                  <a:pt x="10631" y="760"/>
                </a:lnTo>
                <a:lnTo>
                  <a:pt x="10598" y="760"/>
                </a:lnTo>
                <a:lnTo>
                  <a:pt x="10522" y="760"/>
                </a:lnTo>
                <a:lnTo>
                  <a:pt x="10522" y="662"/>
                </a:lnTo>
                <a:lnTo>
                  <a:pt x="10561" y="662"/>
                </a:lnTo>
                <a:lnTo>
                  <a:pt x="10591" y="658"/>
                </a:lnTo>
                <a:lnTo>
                  <a:pt x="10602" y="655"/>
                </a:lnTo>
                <a:lnTo>
                  <a:pt x="10611" y="647"/>
                </a:lnTo>
                <a:lnTo>
                  <a:pt x="10624" y="630"/>
                </a:lnTo>
                <a:lnTo>
                  <a:pt x="10628" y="605"/>
                </a:lnTo>
                <a:lnTo>
                  <a:pt x="10626" y="584"/>
                </a:lnTo>
                <a:lnTo>
                  <a:pt x="10611" y="547"/>
                </a:lnTo>
                <a:lnTo>
                  <a:pt x="10465" y="172"/>
                </a:lnTo>
                <a:lnTo>
                  <a:pt x="10605" y="172"/>
                </a:lnTo>
                <a:lnTo>
                  <a:pt x="10670" y="377"/>
                </a:lnTo>
                <a:lnTo>
                  <a:pt x="10694" y="457"/>
                </a:lnTo>
                <a:lnTo>
                  <a:pt x="10700" y="473"/>
                </a:lnTo>
                <a:lnTo>
                  <a:pt x="10722" y="373"/>
                </a:lnTo>
                <a:lnTo>
                  <a:pt x="10781" y="172"/>
                </a:lnTo>
                <a:lnTo>
                  <a:pt x="10917" y="172"/>
                </a:lnTo>
                <a:close/>
                <a:moveTo>
                  <a:pt x="4735" y="1047"/>
                </a:moveTo>
                <a:lnTo>
                  <a:pt x="4414" y="1047"/>
                </a:lnTo>
                <a:lnTo>
                  <a:pt x="4414" y="1167"/>
                </a:lnTo>
                <a:lnTo>
                  <a:pt x="4694" y="1167"/>
                </a:lnTo>
                <a:lnTo>
                  <a:pt x="4694" y="1276"/>
                </a:lnTo>
                <a:lnTo>
                  <a:pt x="4414" y="1276"/>
                </a:lnTo>
                <a:lnTo>
                  <a:pt x="4414" y="1426"/>
                </a:lnTo>
                <a:lnTo>
                  <a:pt x="4740" y="1426"/>
                </a:lnTo>
                <a:lnTo>
                  <a:pt x="4740" y="1546"/>
                </a:lnTo>
                <a:lnTo>
                  <a:pt x="4275" y="1546"/>
                </a:lnTo>
                <a:lnTo>
                  <a:pt x="4275" y="928"/>
                </a:lnTo>
                <a:lnTo>
                  <a:pt x="4735" y="928"/>
                </a:lnTo>
                <a:lnTo>
                  <a:pt x="4735" y="1047"/>
                </a:lnTo>
                <a:close/>
                <a:moveTo>
                  <a:pt x="5246" y="1546"/>
                </a:moveTo>
                <a:lnTo>
                  <a:pt x="5092" y="1546"/>
                </a:lnTo>
                <a:lnTo>
                  <a:pt x="5009" y="1417"/>
                </a:lnTo>
                <a:lnTo>
                  <a:pt x="4925" y="1546"/>
                </a:lnTo>
                <a:lnTo>
                  <a:pt x="4775" y="1546"/>
                </a:lnTo>
                <a:lnTo>
                  <a:pt x="4937" y="1311"/>
                </a:lnTo>
                <a:lnTo>
                  <a:pt x="4790" y="1099"/>
                </a:lnTo>
                <a:lnTo>
                  <a:pt x="4937" y="1099"/>
                </a:lnTo>
                <a:lnTo>
                  <a:pt x="5009" y="1211"/>
                </a:lnTo>
                <a:lnTo>
                  <a:pt x="5079" y="1099"/>
                </a:lnTo>
                <a:lnTo>
                  <a:pt x="5226" y="1099"/>
                </a:lnTo>
                <a:lnTo>
                  <a:pt x="5081" y="1311"/>
                </a:lnTo>
                <a:lnTo>
                  <a:pt x="5246" y="1546"/>
                </a:lnTo>
                <a:close/>
                <a:moveTo>
                  <a:pt x="5400" y="1360"/>
                </a:moveTo>
                <a:lnTo>
                  <a:pt x="5404" y="1382"/>
                </a:lnTo>
                <a:lnTo>
                  <a:pt x="5411" y="1400"/>
                </a:lnTo>
                <a:lnTo>
                  <a:pt x="5432" y="1430"/>
                </a:lnTo>
                <a:lnTo>
                  <a:pt x="5446" y="1441"/>
                </a:lnTo>
                <a:lnTo>
                  <a:pt x="5461" y="1448"/>
                </a:lnTo>
                <a:lnTo>
                  <a:pt x="5480" y="1454"/>
                </a:lnTo>
                <a:lnTo>
                  <a:pt x="5500" y="1454"/>
                </a:lnTo>
                <a:lnTo>
                  <a:pt x="5524" y="1452"/>
                </a:lnTo>
                <a:lnTo>
                  <a:pt x="5546" y="1445"/>
                </a:lnTo>
                <a:lnTo>
                  <a:pt x="5563" y="1434"/>
                </a:lnTo>
                <a:lnTo>
                  <a:pt x="5578" y="1415"/>
                </a:lnTo>
                <a:lnTo>
                  <a:pt x="5711" y="1415"/>
                </a:lnTo>
                <a:lnTo>
                  <a:pt x="5700" y="1446"/>
                </a:lnTo>
                <a:lnTo>
                  <a:pt x="5684" y="1474"/>
                </a:lnTo>
                <a:lnTo>
                  <a:pt x="5661" y="1498"/>
                </a:lnTo>
                <a:lnTo>
                  <a:pt x="5635" y="1519"/>
                </a:lnTo>
                <a:lnTo>
                  <a:pt x="5606" y="1535"/>
                </a:lnTo>
                <a:lnTo>
                  <a:pt x="5572" y="1548"/>
                </a:lnTo>
                <a:lnTo>
                  <a:pt x="5535" y="1556"/>
                </a:lnTo>
                <a:lnTo>
                  <a:pt x="5496" y="1557"/>
                </a:lnTo>
                <a:lnTo>
                  <a:pt x="5446" y="1554"/>
                </a:lnTo>
                <a:lnTo>
                  <a:pt x="5402" y="1541"/>
                </a:lnTo>
                <a:lnTo>
                  <a:pt x="5363" y="1520"/>
                </a:lnTo>
                <a:lnTo>
                  <a:pt x="5346" y="1508"/>
                </a:lnTo>
                <a:lnTo>
                  <a:pt x="5330" y="1493"/>
                </a:lnTo>
                <a:lnTo>
                  <a:pt x="5304" y="1459"/>
                </a:lnTo>
                <a:lnTo>
                  <a:pt x="5283" y="1419"/>
                </a:lnTo>
                <a:lnTo>
                  <a:pt x="5270" y="1372"/>
                </a:lnTo>
                <a:lnTo>
                  <a:pt x="5268" y="1348"/>
                </a:lnTo>
                <a:lnTo>
                  <a:pt x="5267" y="1323"/>
                </a:lnTo>
                <a:lnTo>
                  <a:pt x="5270" y="1273"/>
                </a:lnTo>
                <a:lnTo>
                  <a:pt x="5283" y="1226"/>
                </a:lnTo>
                <a:lnTo>
                  <a:pt x="5304" y="1186"/>
                </a:lnTo>
                <a:lnTo>
                  <a:pt x="5317" y="1169"/>
                </a:lnTo>
                <a:lnTo>
                  <a:pt x="5330" y="1152"/>
                </a:lnTo>
                <a:lnTo>
                  <a:pt x="5346" y="1137"/>
                </a:lnTo>
                <a:lnTo>
                  <a:pt x="5363" y="1125"/>
                </a:lnTo>
                <a:lnTo>
                  <a:pt x="5402" y="1104"/>
                </a:lnTo>
                <a:lnTo>
                  <a:pt x="5446" y="1091"/>
                </a:lnTo>
                <a:lnTo>
                  <a:pt x="5470" y="1088"/>
                </a:lnTo>
                <a:lnTo>
                  <a:pt x="5496" y="1086"/>
                </a:lnTo>
                <a:lnTo>
                  <a:pt x="5530" y="1088"/>
                </a:lnTo>
                <a:lnTo>
                  <a:pt x="5561" y="1095"/>
                </a:lnTo>
                <a:lnTo>
                  <a:pt x="5591" y="1106"/>
                </a:lnTo>
                <a:lnTo>
                  <a:pt x="5619" y="1121"/>
                </a:lnTo>
                <a:lnTo>
                  <a:pt x="5643" y="1139"/>
                </a:lnTo>
                <a:lnTo>
                  <a:pt x="5663" y="1162"/>
                </a:lnTo>
                <a:lnTo>
                  <a:pt x="5682" y="1187"/>
                </a:lnTo>
                <a:lnTo>
                  <a:pt x="5695" y="1217"/>
                </a:lnTo>
                <a:lnTo>
                  <a:pt x="5706" y="1248"/>
                </a:lnTo>
                <a:lnTo>
                  <a:pt x="5711" y="1280"/>
                </a:lnTo>
                <a:lnTo>
                  <a:pt x="5717" y="1317"/>
                </a:lnTo>
                <a:lnTo>
                  <a:pt x="5717" y="1360"/>
                </a:lnTo>
                <a:lnTo>
                  <a:pt x="5400" y="1360"/>
                </a:lnTo>
                <a:close/>
                <a:moveTo>
                  <a:pt x="5582" y="1267"/>
                </a:moveTo>
                <a:lnTo>
                  <a:pt x="5578" y="1248"/>
                </a:lnTo>
                <a:lnTo>
                  <a:pt x="5572" y="1232"/>
                </a:lnTo>
                <a:lnTo>
                  <a:pt x="5565" y="1219"/>
                </a:lnTo>
                <a:lnTo>
                  <a:pt x="5556" y="1208"/>
                </a:lnTo>
                <a:lnTo>
                  <a:pt x="5543" y="1199"/>
                </a:lnTo>
                <a:lnTo>
                  <a:pt x="5530" y="1191"/>
                </a:lnTo>
                <a:lnTo>
                  <a:pt x="5513" y="1187"/>
                </a:lnTo>
                <a:lnTo>
                  <a:pt x="5495" y="1186"/>
                </a:lnTo>
                <a:lnTo>
                  <a:pt x="5459" y="1191"/>
                </a:lnTo>
                <a:lnTo>
                  <a:pt x="5432" y="1208"/>
                </a:lnTo>
                <a:lnTo>
                  <a:pt x="5420" y="1219"/>
                </a:lnTo>
                <a:lnTo>
                  <a:pt x="5413" y="1232"/>
                </a:lnTo>
                <a:lnTo>
                  <a:pt x="5406" y="1248"/>
                </a:lnTo>
                <a:lnTo>
                  <a:pt x="5400" y="1267"/>
                </a:lnTo>
                <a:lnTo>
                  <a:pt x="5582" y="1267"/>
                </a:lnTo>
                <a:close/>
                <a:moveTo>
                  <a:pt x="6097" y="1260"/>
                </a:moveTo>
                <a:lnTo>
                  <a:pt x="6088" y="1230"/>
                </a:lnTo>
                <a:lnTo>
                  <a:pt x="6071" y="1210"/>
                </a:lnTo>
                <a:lnTo>
                  <a:pt x="6047" y="1197"/>
                </a:lnTo>
                <a:lnTo>
                  <a:pt x="6032" y="1193"/>
                </a:lnTo>
                <a:lnTo>
                  <a:pt x="6015" y="1193"/>
                </a:lnTo>
                <a:lnTo>
                  <a:pt x="5995" y="1195"/>
                </a:lnTo>
                <a:lnTo>
                  <a:pt x="5977" y="1200"/>
                </a:lnTo>
                <a:lnTo>
                  <a:pt x="5960" y="1211"/>
                </a:lnTo>
                <a:lnTo>
                  <a:pt x="5947" y="1226"/>
                </a:lnTo>
                <a:lnTo>
                  <a:pt x="5936" y="1243"/>
                </a:lnTo>
                <a:lnTo>
                  <a:pt x="5928" y="1265"/>
                </a:lnTo>
                <a:lnTo>
                  <a:pt x="5925" y="1291"/>
                </a:lnTo>
                <a:lnTo>
                  <a:pt x="5923" y="1319"/>
                </a:lnTo>
                <a:lnTo>
                  <a:pt x="5925" y="1350"/>
                </a:lnTo>
                <a:lnTo>
                  <a:pt x="5928" y="1376"/>
                </a:lnTo>
                <a:lnTo>
                  <a:pt x="5936" y="1398"/>
                </a:lnTo>
                <a:lnTo>
                  <a:pt x="5947" y="1417"/>
                </a:lnTo>
                <a:lnTo>
                  <a:pt x="5960" y="1432"/>
                </a:lnTo>
                <a:lnTo>
                  <a:pt x="5977" y="1443"/>
                </a:lnTo>
                <a:lnTo>
                  <a:pt x="5995" y="1448"/>
                </a:lnTo>
                <a:lnTo>
                  <a:pt x="6017" y="1450"/>
                </a:lnTo>
                <a:lnTo>
                  <a:pt x="6049" y="1446"/>
                </a:lnTo>
                <a:lnTo>
                  <a:pt x="6062" y="1441"/>
                </a:lnTo>
                <a:lnTo>
                  <a:pt x="6073" y="1432"/>
                </a:lnTo>
                <a:lnTo>
                  <a:pt x="6082" y="1422"/>
                </a:lnTo>
                <a:lnTo>
                  <a:pt x="6090" y="1408"/>
                </a:lnTo>
                <a:lnTo>
                  <a:pt x="6101" y="1374"/>
                </a:lnTo>
                <a:lnTo>
                  <a:pt x="6229" y="1380"/>
                </a:lnTo>
                <a:lnTo>
                  <a:pt x="6219" y="1421"/>
                </a:lnTo>
                <a:lnTo>
                  <a:pt x="6203" y="1456"/>
                </a:lnTo>
                <a:lnTo>
                  <a:pt x="6184" y="1487"/>
                </a:lnTo>
                <a:lnTo>
                  <a:pt x="6158" y="1511"/>
                </a:lnTo>
                <a:lnTo>
                  <a:pt x="6129" y="1532"/>
                </a:lnTo>
                <a:lnTo>
                  <a:pt x="6093" y="1546"/>
                </a:lnTo>
                <a:lnTo>
                  <a:pt x="6056" y="1554"/>
                </a:lnTo>
                <a:lnTo>
                  <a:pt x="6014" y="1557"/>
                </a:lnTo>
                <a:lnTo>
                  <a:pt x="5964" y="1554"/>
                </a:lnTo>
                <a:lnTo>
                  <a:pt x="5941" y="1548"/>
                </a:lnTo>
                <a:lnTo>
                  <a:pt x="5921" y="1541"/>
                </a:lnTo>
                <a:lnTo>
                  <a:pt x="5901" y="1532"/>
                </a:lnTo>
                <a:lnTo>
                  <a:pt x="5882" y="1520"/>
                </a:lnTo>
                <a:lnTo>
                  <a:pt x="5865" y="1509"/>
                </a:lnTo>
                <a:lnTo>
                  <a:pt x="5850" y="1495"/>
                </a:lnTo>
                <a:lnTo>
                  <a:pt x="5825" y="1461"/>
                </a:lnTo>
                <a:lnTo>
                  <a:pt x="5806" y="1421"/>
                </a:lnTo>
                <a:lnTo>
                  <a:pt x="5799" y="1398"/>
                </a:lnTo>
                <a:lnTo>
                  <a:pt x="5795" y="1374"/>
                </a:lnTo>
                <a:lnTo>
                  <a:pt x="5789" y="1323"/>
                </a:lnTo>
                <a:lnTo>
                  <a:pt x="5795" y="1271"/>
                </a:lnTo>
                <a:lnTo>
                  <a:pt x="5799" y="1247"/>
                </a:lnTo>
                <a:lnTo>
                  <a:pt x="5806" y="1224"/>
                </a:lnTo>
                <a:lnTo>
                  <a:pt x="5825" y="1184"/>
                </a:lnTo>
                <a:lnTo>
                  <a:pt x="5838" y="1165"/>
                </a:lnTo>
                <a:lnTo>
                  <a:pt x="5850" y="1149"/>
                </a:lnTo>
                <a:lnTo>
                  <a:pt x="5865" y="1134"/>
                </a:lnTo>
                <a:lnTo>
                  <a:pt x="5884" y="1123"/>
                </a:lnTo>
                <a:lnTo>
                  <a:pt x="5923" y="1102"/>
                </a:lnTo>
                <a:lnTo>
                  <a:pt x="5967" y="1089"/>
                </a:lnTo>
                <a:lnTo>
                  <a:pt x="6017" y="1086"/>
                </a:lnTo>
                <a:lnTo>
                  <a:pt x="6060" y="1089"/>
                </a:lnTo>
                <a:lnTo>
                  <a:pt x="6097" y="1099"/>
                </a:lnTo>
                <a:lnTo>
                  <a:pt x="6132" y="1113"/>
                </a:lnTo>
                <a:lnTo>
                  <a:pt x="6160" y="1132"/>
                </a:lnTo>
                <a:lnTo>
                  <a:pt x="6184" y="1158"/>
                </a:lnTo>
                <a:lnTo>
                  <a:pt x="6203" y="1187"/>
                </a:lnTo>
                <a:lnTo>
                  <a:pt x="6216" y="1221"/>
                </a:lnTo>
                <a:lnTo>
                  <a:pt x="6219" y="1239"/>
                </a:lnTo>
                <a:lnTo>
                  <a:pt x="6223" y="1260"/>
                </a:lnTo>
                <a:lnTo>
                  <a:pt x="6097" y="1260"/>
                </a:lnTo>
                <a:close/>
                <a:moveTo>
                  <a:pt x="6718" y="1546"/>
                </a:moveTo>
                <a:lnTo>
                  <a:pt x="6594" y="1546"/>
                </a:lnTo>
                <a:lnTo>
                  <a:pt x="6594" y="1496"/>
                </a:lnTo>
                <a:lnTo>
                  <a:pt x="6570" y="1524"/>
                </a:lnTo>
                <a:lnTo>
                  <a:pt x="6557" y="1535"/>
                </a:lnTo>
                <a:lnTo>
                  <a:pt x="6542" y="1545"/>
                </a:lnTo>
                <a:lnTo>
                  <a:pt x="6527" y="1550"/>
                </a:lnTo>
                <a:lnTo>
                  <a:pt x="6512" y="1554"/>
                </a:lnTo>
                <a:lnTo>
                  <a:pt x="6475" y="1557"/>
                </a:lnTo>
                <a:lnTo>
                  <a:pt x="6440" y="1554"/>
                </a:lnTo>
                <a:lnTo>
                  <a:pt x="6408" y="1546"/>
                </a:lnTo>
                <a:lnTo>
                  <a:pt x="6381" y="1532"/>
                </a:lnTo>
                <a:lnTo>
                  <a:pt x="6355" y="1511"/>
                </a:lnTo>
                <a:lnTo>
                  <a:pt x="6336" y="1487"/>
                </a:lnTo>
                <a:lnTo>
                  <a:pt x="6323" y="1458"/>
                </a:lnTo>
                <a:lnTo>
                  <a:pt x="6316" y="1422"/>
                </a:lnTo>
                <a:lnTo>
                  <a:pt x="6312" y="1378"/>
                </a:lnTo>
                <a:lnTo>
                  <a:pt x="6312" y="1099"/>
                </a:lnTo>
                <a:lnTo>
                  <a:pt x="6446" y="1099"/>
                </a:lnTo>
                <a:lnTo>
                  <a:pt x="6446" y="1350"/>
                </a:lnTo>
                <a:lnTo>
                  <a:pt x="6447" y="1397"/>
                </a:lnTo>
                <a:lnTo>
                  <a:pt x="6451" y="1409"/>
                </a:lnTo>
                <a:lnTo>
                  <a:pt x="6459" y="1421"/>
                </a:lnTo>
                <a:lnTo>
                  <a:pt x="6470" y="1432"/>
                </a:lnTo>
                <a:lnTo>
                  <a:pt x="6483" y="1439"/>
                </a:lnTo>
                <a:lnTo>
                  <a:pt x="6499" y="1445"/>
                </a:lnTo>
                <a:lnTo>
                  <a:pt x="6516" y="1446"/>
                </a:lnTo>
                <a:lnTo>
                  <a:pt x="6533" y="1445"/>
                </a:lnTo>
                <a:lnTo>
                  <a:pt x="6549" y="1439"/>
                </a:lnTo>
                <a:lnTo>
                  <a:pt x="6562" y="1432"/>
                </a:lnTo>
                <a:lnTo>
                  <a:pt x="6573" y="1421"/>
                </a:lnTo>
                <a:lnTo>
                  <a:pt x="6581" y="1409"/>
                </a:lnTo>
                <a:lnTo>
                  <a:pt x="6585" y="1397"/>
                </a:lnTo>
                <a:lnTo>
                  <a:pt x="6586" y="1350"/>
                </a:lnTo>
                <a:lnTo>
                  <a:pt x="6586" y="1099"/>
                </a:lnTo>
                <a:lnTo>
                  <a:pt x="6718" y="1099"/>
                </a:lnTo>
                <a:lnTo>
                  <a:pt x="6718" y="1546"/>
                </a:lnTo>
                <a:close/>
                <a:moveTo>
                  <a:pt x="7063" y="1197"/>
                </a:moveTo>
                <a:lnTo>
                  <a:pt x="6981" y="1197"/>
                </a:lnTo>
                <a:lnTo>
                  <a:pt x="6981" y="1371"/>
                </a:lnTo>
                <a:lnTo>
                  <a:pt x="6983" y="1411"/>
                </a:lnTo>
                <a:lnTo>
                  <a:pt x="6987" y="1435"/>
                </a:lnTo>
                <a:lnTo>
                  <a:pt x="6992" y="1441"/>
                </a:lnTo>
                <a:lnTo>
                  <a:pt x="6998" y="1445"/>
                </a:lnTo>
                <a:lnTo>
                  <a:pt x="7015" y="1446"/>
                </a:lnTo>
                <a:lnTo>
                  <a:pt x="7063" y="1446"/>
                </a:lnTo>
                <a:lnTo>
                  <a:pt x="7063" y="1546"/>
                </a:lnTo>
                <a:lnTo>
                  <a:pt x="6981" y="1546"/>
                </a:lnTo>
                <a:lnTo>
                  <a:pt x="6944" y="1545"/>
                </a:lnTo>
                <a:lnTo>
                  <a:pt x="6915" y="1539"/>
                </a:lnTo>
                <a:lnTo>
                  <a:pt x="6892" y="1530"/>
                </a:lnTo>
                <a:lnTo>
                  <a:pt x="6876" y="1517"/>
                </a:lnTo>
                <a:lnTo>
                  <a:pt x="6864" y="1498"/>
                </a:lnTo>
                <a:lnTo>
                  <a:pt x="6855" y="1476"/>
                </a:lnTo>
                <a:lnTo>
                  <a:pt x="6852" y="1445"/>
                </a:lnTo>
                <a:lnTo>
                  <a:pt x="6850" y="1400"/>
                </a:lnTo>
                <a:lnTo>
                  <a:pt x="6850" y="1197"/>
                </a:lnTo>
                <a:lnTo>
                  <a:pt x="6787" y="1197"/>
                </a:lnTo>
                <a:lnTo>
                  <a:pt x="6787" y="1104"/>
                </a:lnTo>
                <a:lnTo>
                  <a:pt x="6850" y="1104"/>
                </a:lnTo>
                <a:lnTo>
                  <a:pt x="6850" y="962"/>
                </a:lnTo>
                <a:lnTo>
                  <a:pt x="6981" y="962"/>
                </a:lnTo>
                <a:lnTo>
                  <a:pt x="6981" y="1104"/>
                </a:lnTo>
                <a:lnTo>
                  <a:pt x="7063" y="1104"/>
                </a:lnTo>
                <a:lnTo>
                  <a:pt x="7063" y="1197"/>
                </a:lnTo>
                <a:close/>
                <a:moveTo>
                  <a:pt x="7283" y="1036"/>
                </a:moveTo>
                <a:lnTo>
                  <a:pt x="7152" y="1036"/>
                </a:lnTo>
                <a:lnTo>
                  <a:pt x="7152" y="928"/>
                </a:lnTo>
                <a:lnTo>
                  <a:pt x="7283" y="928"/>
                </a:lnTo>
                <a:lnTo>
                  <a:pt x="7283" y="1036"/>
                </a:lnTo>
                <a:close/>
                <a:moveTo>
                  <a:pt x="7283" y="1546"/>
                </a:moveTo>
                <a:lnTo>
                  <a:pt x="7152" y="1546"/>
                </a:lnTo>
                <a:lnTo>
                  <a:pt x="7152" y="1099"/>
                </a:lnTo>
                <a:lnTo>
                  <a:pt x="7283" y="1099"/>
                </a:lnTo>
                <a:lnTo>
                  <a:pt x="7283" y="1546"/>
                </a:lnTo>
                <a:close/>
                <a:moveTo>
                  <a:pt x="7508" y="1546"/>
                </a:moveTo>
                <a:lnTo>
                  <a:pt x="7348" y="1099"/>
                </a:lnTo>
                <a:lnTo>
                  <a:pt x="7486" y="1099"/>
                </a:lnTo>
                <a:lnTo>
                  <a:pt x="7536" y="1269"/>
                </a:lnTo>
                <a:lnTo>
                  <a:pt x="7571" y="1398"/>
                </a:lnTo>
                <a:lnTo>
                  <a:pt x="7599" y="1269"/>
                </a:lnTo>
                <a:lnTo>
                  <a:pt x="7645" y="1099"/>
                </a:lnTo>
                <a:lnTo>
                  <a:pt x="7786" y="1099"/>
                </a:lnTo>
                <a:lnTo>
                  <a:pt x="7634" y="1546"/>
                </a:lnTo>
                <a:lnTo>
                  <a:pt x="7508" y="1546"/>
                </a:lnTo>
                <a:close/>
                <a:moveTo>
                  <a:pt x="7949" y="1360"/>
                </a:moveTo>
                <a:lnTo>
                  <a:pt x="7955" y="1382"/>
                </a:lnTo>
                <a:lnTo>
                  <a:pt x="7960" y="1400"/>
                </a:lnTo>
                <a:lnTo>
                  <a:pt x="7982" y="1430"/>
                </a:lnTo>
                <a:lnTo>
                  <a:pt x="7995" y="1441"/>
                </a:lnTo>
                <a:lnTo>
                  <a:pt x="8012" y="1448"/>
                </a:lnTo>
                <a:lnTo>
                  <a:pt x="8031" y="1454"/>
                </a:lnTo>
                <a:lnTo>
                  <a:pt x="8051" y="1454"/>
                </a:lnTo>
                <a:lnTo>
                  <a:pt x="8075" y="1452"/>
                </a:lnTo>
                <a:lnTo>
                  <a:pt x="8097" y="1445"/>
                </a:lnTo>
                <a:lnTo>
                  <a:pt x="8114" y="1434"/>
                </a:lnTo>
                <a:lnTo>
                  <a:pt x="8129" y="1415"/>
                </a:lnTo>
                <a:lnTo>
                  <a:pt x="8262" y="1415"/>
                </a:lnTo>
                <a:lnTo>
                  <a:pt x="8251" y="1446"/>
                </a:lnTo>
                <a:lnTo>
                  <a:pt x="8233" y="1474"/>
                </a:lnTo>
                <a:lnTo>
                  <a:pt x="8212" y="1498"/>
                </a:lnTo>
                <a:lnTo>
                  <a:pt x="8186" y="1519"/>
                </a:lnTo>
                <a:lnTo>
                  <a:pt x="8155" y="1535"/>
                </a:lnTo>
                <a:lnTo>
                  <a:pt x="8121" y="1548"/>
                </a:lnTo>
                <a:lnTo>
                  <a:pt x="8086" y="1556"/>
                </a:lnTo>
                <a:lnTo>
                  <a:pt x="8047" y="1557"/>
                </a:lnTo>
                <a:lnTo>
                  <a:pt x="7997" y="1554"/>
                </a:lnTo>
                <a:lnTo>
                  <a:pt x="7953" y="1541"/>
                </a:lnTo>
                <a:lnTo>
                  <a:pt x="7914" y="1520"/>
                </a:lnTo>
                <a:lnTo>
                  <a:pt x="7895" y="1508"/>
                </a:lnTo>
                <a:lnTo>
                  <a:pt x="7880" y="1493"/>
                </a:lnTo>
                <a:lnTo>
                  <a:pt x="7853" y="1459"/>
                </a:lnTo>
                <a:lnTo>
                  <a:pt x="7834" y="1419"/>
                </a:lnTo>
                <a:lnTo>
                  <a:pt x="7821" y="1372"/>
                </a:lnTo>
                <a:lnTo>
                  <a:pt x="7817" y="1348"/>
                </a:lnTo>
                <a:lnTo>
                  <a:pt x="7817" y="1323"/>
                </a:lnTo>
                <a:lnTo>
                  <a:pt x="7821" y="1273"/>
                </a:lnTo>
                <a:lnTo>
                  <a:pt x="7834" y="1226"/>
                </a:lnTo>
                <a:lnTo>
                  <a:pt x="7854" y="1186"/>
                </a:lnTo>
                <a:lnTo>
                  <a:pt x="7866" y="1169"/>
                </a:lnTo>
                <a:lnTo>
                  <a:pt x="7880" y="1152"/>
                </a:lnTo>
                <a:lnTo>
                  <a:pt x="7897" y="1137"/>
                </a:lnTo>
                <a:lnTo>
                  <a:pt x="7914" y="1125"/>
                </a:lnTo>
                <a:lnTo>
                  <a:pt x="7953" y="1104"/>
                </a:lnTo>
                <a:lnTo>
                  <a:pt x="7997" y="1091"/>
                </a:lnTo>
                <a:lnTo>
                  <a:pt x="8021" y="1088"/>
                </a:lnTo>
                <a:lnTo>
                  <a:pt x="8045" y="1086"/>
                </a:lnTo>
                <a:lnTo>
                  <a:pt x="8081" y="1088"/>
                </a:lnTo>
                <a:lnTo>
                  <a:pt x="8112" y="1095"/>
                </a:lnTo>
                <a:lnTo>
                  <a:pt x="8142" y="1106"/>
                </a:lnTo>
                <a:lnTo>
                  <a:pt x="8170" y="1121"/>
                </a:lnTo>
                <a:lnTo>
                  <a:pt x="8194" y="1139"/>
                </a:lnTo>
                <a:lnTo>
                  <a:pt x="8214" y="1162"/>
                </a:lnTo>
                <a:lnTo>
                  <a:pt x="8231" y="1187"/>
                </a:lnTo>
                <a:lnTo>
                  <a:pt x="8246" y="1217"/>
                </a:lnTo>
                <a:lnTo>
                  <a:pt x="8257" y="1248"/>
                </a:lnTo>
                <a:lnTo>
                  <a:pt x="8262" y="1280"/>
                </a:lnTo>
                <a:lnTo>
                  <a:pt x="8266" y="1317"/>
                </a:lnTo>
                <a:lnTo>
                  <a:pt x="8268" y="1360"/>
                </a:lnTo>
                <a:lnTo>
                  <a:pt x="7949" y="1360"/>
                </a:lnTo>
                <a:close/>
                <a:moveTo>
                  <a:pt x="8132" y="1267"/>
                </a:moveTo>
                <a:lnTo>
                  <a:pt x="8129" y="1248"/>
                </a:lnTo>
                <a:lnTo>
                  <a:pt x="8123" y="1232"/>
                </a:lnTo>
                <a:lnTo>
                  <a:pt x="8116" y="1219"/>
                </a:lnTo>
                <a:lnTo>
                  <a:pt x="8107" y="1208"/>
                </a:lnTo>
                <a:lnTo>
                  <a:pt x="8094" y="1199"/>
                </a:lnTo>
                <a:lnTo>
                  <a:pt x="8079" y="1191"/>
                </a:lnTo>
                <a:lnTo>
                  <a:pt x="8064" y="1187"/>
                </a:lnTo>
                <a:lnTo>
                  <a:pt x="8045" y="1186"/>
                </a:lnTo>
                <a:lnTo>
                  <a:pt x="8010" y="1191"/>
                </a:lnTo>
                <a:lnTo>
                  <a:pt x="7982" y="1208"/>
                </a:lnTo>
                <a:lnTo>
                  <a:pt x="7971" y="1219"/>
                </a:lnTo>
                <a:lnTo>
                  <a:pt x="7962" y="1232"/>
                </a:lnTo>
                <a:lnTo>
                  <a:pt x="7956" y="1248"/>
                </a:lnTo>
                <a:lnTo>
                  <a:pt x="7951" y="1267"/>
                </a:lnTo>
                <a:lnTo>
                  <a:pt x="8132" y="1267"/>
                </a:lnTo>
                <a:close/>
                <a:moveTo>
                  <a:pt x="9109" y="1047"/>
                </a:moveTo>
                <a:lnTo>
                  <a:pt x="8789" y="1047"/>
                </a:lnTo>
                <a:lnTo>
                  <a:pt x="8789" y="1167"/>
                </a:lnTo>
                <a:lnTo>
                  <a:pt x="9069" y="1167"/>
                </a:lnTo>
                <a:lnTo>
                  <a:pt x="9069" y="1276"/>
                </a:lnTo>
                <a:lnTo>
                  <a:pt x="8789" y="1276"/>
                </a:lnTo>
                <a:lnTo>
                  <a:pt x="8789" y="1426"/>
                </a:lnTo>
                <a:lnTo>
                  <a:pt x="9115" y="1426"/>
                </a:lnTo>
                <a:lnTo>
                  <a:pt x="9115" y="1546"/>
                </a:lnTo>
                <a:lnTo>
                  <a:pt x="8648" y="1546"/>
                </a:lnTo>
                <a:lnTo>
                  <a:pt x="8648" y="928"/>
                </a:lnTo>
                <a:lnTo>
                  <a:pt x="9109" y="928"/>
                </a:lnTo>
                <a:lnTo>
                  <a:pt x="9109" y="1047"/>
                </a:lnTo>
                <a:close/>
                <a:moveTo>
                  <a:pt x="9632" y="1546"/>
                </a:moveTo>
                <a:lnTo>
                  <a:pt x="9506" y="1546"/>
                </a:lnTo>
                <a:lnTo>
                  <a:pt x="9506" y="1498"/>
                </a:lnTo>
                <a:lnTo>
                  <a:pt x="9480" y="1526"/>
                </a:lnTo>
                <a:lnTo>
                  <a:pt x="9452" y="1545"/>
                </a:lnTo>
                <a:lnTo>
                  <a:pt x="9436" y="1550"/>
                </a:lnTo>
                <a:lnTo>
                  <a:pt x="9419" y="1554"/>
                </a:lnTo>
                <a:lnTo>
                  <a:pt x="9382" y="1557"/>
                </a:lnTo>
                <a:lnTo>
                  <a:pt x="9339" y="1554"/>
                </a:lnTo>
                <a:lnTo>
                  <a:pt x="9302" y="1541"/>
                </a:lnTo>
                <a:lnTo>
                  <a:pt x="9269" y="1520"/>
                </a:lnTo>
                <a:lnTo>
                  <a:pt x="9254" y="1508"/>
                </a:lnTo>
                <a:lnTo>
                  <a:pt x="9239" y="1493"/>
                </a:lnTo>
                <a:lnTo>
                  <a:pt x="9217" y="1459"/>
                </a:lnTo>
                <a:lnTo>
                  <a:pt x="9208" y="1439"/>
                </a:lnTo>
                <a:lnTo>
                  <a:pt x="9200" y="1419"/>
                </a:lnTo>
                <a:lnTo>
                  <a:pt x="9189" y="1372"/>
                </a:lnTo>
                <a:lnTo>
                  <a:pt x="9185" y="1323"/>
                </a:lnTo>
                <a:lnTo>
                  <a:pt x="9189" y="1271"/>
                </a:lnTo>
                <a:lnTo>
                  <a:pt x="9193" y="1247"/>
                </a:lnTo>
                <a:lnTo>
                  <a:pt x="9200" y="1224"/>
                </a:lnTo>
                <a:lnTo>
                  <a:pt x="9217" y="1184"/>
                </a:lnTo>
                <a:lnTo>
                  <a:pt x="9241" y="1150"/>
                </a:lnTo>
                <a:lnTo>
                  <a:pt x="9254" y="1136"/>
                </a:lnTo>
                <a:lnTo>
                  <a:pt x="9269" y="1123"/>
                </a:lnTo>
                <a:lnTo>
                  <a:pt x="9304" y="1102"/>
                </a:lnTo>
                <a:lnTo>
                  <a:pt x="9343" y="1089"/>
                </a:lnTo>
                <a:lnTo>
                  <a:pt x="9363" y="1086"/>
                </a:lnTo>
                <a:lnTo>
                  <a:pt x="9386" y="1086"/>
                </a:lnTo>
                <a:lnTo>
                  <a:pt x="9419" y="1088"/>
                </a:lnTo>
                <a:lnTo>
                  <a:pt x="9449" y="1097"/>
                </a:lnTo>
                <a:lnTo>
                  <a:pt x="9476" y="1110"/>
                </a:lnTo>
                <a:lnTo>
                  <a:pt x="9501" y="1132"/>
                </a:lnTo>
                <a:lnTo>
                  <a:pt x="9501" y="928"/>
                </a:lnTo>
                <a:lnTo>
                  <a:pt x="9632" y="928"/>
                </a:lnTo>
                <a:lnTo>
                  <a:pt x="9632" y="1546"/>
                </a:lnTo>
                <a:close/>
                <a:moveTo>
                  <a:pt x="9315" y="1321"/>
                </a:moveTo>
                <a:lnTo>
                  <a:pt x="9317" y="1350"/>
                </a:lnTo>
                <a:lnTo>
                  <a:pt x="9323" y="1374"/>
                </a:lnTo>
                <a:lnTo>
                  <a:pt x="9330" y="1397"/>
                </a:lnTo>
                <a:lnTo>
                  <a:pt x="9341" y="1415"/>
                </a:lnTo>
                <a:lnTo>
                  <a:pt x="9354" y="1432"/>
                </a:lnTo>
                <a:lnTo>
                  <a:pt x="9371" y="1443"/>
                </a:lnTo>
                <a:lnTo>
                  <a:pt x="9389" y="1448"/>
                </a:lnTo>
                <a:lnTo>
                  <a:pt x="9410" y="1450"/>
                </a:lnTo>
                <a:lnTo>
                  <a:pt x="9430" y="1448"/>
                </a:lnTo>
                <a:lnTo>
                  <a:pt x="9449" y="1441"/>
                </a:lnTo>
                <a:lnTo>
                  <a:pt x="9465" y="1430"/>
                </a:lnTo>
                <a:lnTo>
                  <a:pt x="9478" y="1415"/>
                </a:lnTo>
                <a:lnTo>
                  <a:pt x="9489" y="1397"/>
                </a:lnTo>
                <a:lnTo>
                  <a:pt x="9497" y="1376"/>
                </a:lnTo>
                <a:lnTo>
                  <a:pt x="9502" y="1350"/>
                </a:lnTo>
                <a:lnTo>
                  <a:pt x="9504" y="1323"/>
                </a:lnTo>
                <a:lnTo>
                  <a:pt x="9502" y="1295"/>
                </a:lnTo>
                <a:lnTo>
                  <a:pt x="9499" y="1269"/>
                </a:lnTo>
                <a:lnTo>
                  <a:pt x="9489" y="1247"/>
                </a:lnTo>
                <a:lnTo>
                  <a:pt x="9478" y="1228"/>
                </a:lnTo>
                <a:lnTo>
                  <a:pt x="9465" y="1211"/>
                </a:lnTo>
                <a:lnTo>
                  <a:pt x="9449" y="1200"/>
                </a:lnTo>
                <a:lnTo>
                  <a:pt x="9430" y="1195"/>
                </a:lnTo>
                <a:lnTo>
                  <a:pt x="9410" y="1191"/>
                </a:lnTo>
                <a:lnTo>
                  <a:pt x="9389" y="1195"/>
                </a:lnTo>
                <a:lnTo>
                  <a:pt x="9371" y="1200"/>
                </a:lnTo>
                <a:lnTo>
                  <a:pt x="9354" y="1211"/>
                </a:lnTo>
                <a:lnTo>
                  <a:pt x="9341" y="1226"/>
                </a:lnTo>
                <a:lnTo>
                  <a:pt x="9330" y="1247"/>
                </a:lnTo>
                <a:lnTo>
                  <a:pt x="9323" y="1267"/>
                </a:lnTo>
                <a:lnTo>
                  <a:pt x="9317" y="1293"/>
                </a:lnTo>
                <a:lnTo>
                  <a:pt x="9315" y="1321"/>
                </a:lnTo>
                <a:close/>
                <a:moveTo>
                  <a:pt x="10153" y="1546"/>
                </a:moveTo>
                <a:lnTo>
                  <a:pt x="10029" y="1546"/>
                </a:lnTo>
                <a:lnTo>
                  <a:pt x="10029" y="1496"/>
                </a:lnTo>
                <a:lnTo>
                  <a:pt x="10005" y="1524"/>
                </a:lnTo>
                <a:lnTo>
                  <a:pt x="9992" y="1535"/>
                </a:lnTo>
                <a:lnTo>
                  <a:pt x="9977" y="1545"/>
                </a:lnTo>
                <a:lnTo>
                  <a:pt x="9962" y="1550"/>
                </a:lnTo>
                <a:lnTo>
                  <a:pt x="9947" y="1554"/>
                </a:lnTo>
                <a:lnTo>
                  <a:pt x="9910" y="1557"/>
                </a:lnTo>
                <a:lnTo>
                  <a:pt x="9875" y="1554"/>
                </a:lnTo>
                <a:lnTo>
                  <a:pt x="9843" y="1546"/>
                </a:lnTo>
                <a:lnTo>
                  <a:pt x="9816" y="1532"/>
                </a:lnTo>
                <a:lnTo>
                  <a:pt x="9790" y="1511"/>
                </a:lnTo>
                <a:lnTo>
                  <a:pt x="9771" y="1487"/>
                </a:lnTo>
                <a:lnTo>
                  <a:pt x="9758" y="1458"/>
                </a:lnTo>
                <a:lnTo>
                  <a:pt x="9751" y="1422"/>
                </a:lnTo>
                <a:lnTo>
                  <a:pt x="9747" y="1378"/>
                </a:lnTo>
                <a:lnTo>
                  <a:pt x="9747" y="1099"/>
                </a:lnTo>
                <a:lnTo>
                  <a:pt x="9881" y="1099"/>
                </a:lnTo>
                <a:lnTo>
                  <a:pt x="9881" y="1350"/>
                </a:lnTo>
                <a:lnTo>
                  <a:pt x="9882" y="1397"/>
                </a:lnTo>
                <a:lnTo>
                  <a:pt x="9886" y="1409"/>
                </a:lnTo>
                <a:lnTo>
                  <a:pt x="9894" y="1421"/>
                </a:lnTo>
                <a:lnTo>
                  <a:pt x="9905" y="1432"/>
                </a:lnTo>
                <a:lnTo>
                  <a:pt x="9918" y="1439"/>
                </a:lnTo>
                <a:lnTo>
                  <a:pt x="9934" y="1445"/>
                </a:lnTo>
                <a:lnTo>
                  <a:pt x="9951" y="1446"/>
                </a:lnTo>
                <a:lnTo>
                  <a:pt x="9968" y="1445"/>
                </a:lnTo>
                <a:lnTo>
                  <a:pt x="9984" y="1439"/>
                </a:lnTo>
                <a:lnTo>
                  <a:pt x="9997" y="1432"/>
                </a:lnTo>
                <a:lnTo>
                  <a:pt x="10008" y="1421"/>
                </a:lnTo>
                <a:lnTo>
                  <a:pt x="10016" y="1409"/>
                </a:lnTo>
                <a:lnTo>
                  <a:pt x="10020" y="1397"/>
                </a:lnTo>
                <a:lnTo>
                  <a:pt x="10021" y="1350"/>
                </a:lnTo>
                <a:lnTo>
                  <a:pt x="10021" y="1099"/>
                </a:lnTo>
                <a:lnTo>
                  <a:pt x="10153" y="1099"/>
                </a:lnTo>
                <a:lnTo>
                  <a:pt x="10153" y="1546"/>
                </a:lnTo>
                <a:close/>
                <a:moveTo>
                  <a:pt x="10555" y="1260"/>
                </a:moveTo>
                <a:lnTo>
                  <a:pt x="10546" y="1230"/>
                </a:lnTo>
                <a:lnTo>
                  <a:pt x="10529" y="1210"/>
                </a:lnTo>
                <a:lnTo>
                  <a:pt x="10505" y="1197"/>
                </a:lnTo>
                <a:lnTo>
                  <a:pt x="10490" y="1193"/>
                </a:lnTo>
                <a:lnTo>
                  <a:pt x="10474" y="1193"/>
                </a:lnTo>
                <a:lnTo>
                  <a:pt x="10453" y="1195"/>
                </a:lnTo>
                <a:lnTo>
                  <a:pt x="10435" y="1200"/>
                </a:lnTo>
                <a:lnTo>
                  <a:pt x="10418" y="1211"/>
                </a:lnTo>
                <a:lnTo>
                  <a:pt x="10405" y="1226"/>
                </a:lnTo>
                <a:lnTo>
                  <a:pt x="10394" y="1243"/>
                </a:lnTo>
                <a:lnTo>
                  <a:pt x="10387" y="1265"/>
                </a:lnTo>
                <a:lnTo>
                  <a:pt x="10383" y="1291"/>
                </a:lnTo>
                <a:lnTo>
                  <a:pt x="10381" y="1319"/>
                </a:lnTo>
                <a:lnTo>
                  <a:pt x="10383" y="1350"/>
                </a:lnTo>
                <a:lnTo>
                  <a:pt x="10387" y="1376"/>
                </a:lnTo>
                <a:lnTo>
                  <a:pt x="10394" y="1398"/>
                </a:lnTo>
                <a:lnTo>
                  <a:pt x="10405" y="1417"/>
                </a:lnTo>
                <a:lnTo>
                  <a:pt x="10418" y="1432"/>
                </a:lnTo>
                <a:lnTo>
                  <a:pt x="10435" y="1443"/>
                </a:lnTo>
                <a:lnTo>
                  <a:pt x="10453" y="1448"/>
                </a:lnTo>
                <a:lnTo>
                  <a:pt x="10476" y="1450"/>
                </a:lnTo>
                <a:lnTo>
                  <a:pt x="10507" y="1446"/>
                </a:lnTo>
                <a:lnTo>
                  <a:pt x="10520" y="1441"/>
                </a:lnTo>
                <a:lnTo>
                  <a:pt x="10531" y="1432"/>
                </a:lnTo>
                <a:lnTo>
                  <a:pt x="10541" y="1422"/>
                </a:lnTo>
                <a:lnTo>
                  <a:pt x="10548" y="1408"/>
                </a:lnTo>
                <a:lnTo>
                  <a:pt x="10559" y="1374"/>
                </a:lnTo>
                <a:lnTo>
                  <a:pt x="10687" y="1380"/>
                </a:lnTo>
                <a:lnTo>
                  <a:pt x="10676" y="1421"/>
                </a:lnTo>
                <a:lnTo>
                  <a:pt x="10661" y="1456"/>
                </a:lnTo>
                <a:lnTo>
                  <a:pt x="10641" y="1487"/>
                </a:lnTo>
                <a:lnTo>
                  <a:pt x="10617" y="1511"/>
                </a:lnTo>
                <a:lnTo>
                  <a:pt x="10587" y="1532"/>
                </a:lnTo>
                <a:lnTo>
                  <a:pt x="10552" y="1546"/>
                </a:lnTo>
                <a:lnTo>
                  <a:pt x="10515" y="1554"/>
                </a:lnTo>
                <a:lnTo>
                  <a:pt x="10472" y="1557"/>
                </a:lnTo>
                <a:lnTo>
                  <a:pt x="10422" y="1554"/>
                </a:lnTo>
                <a:lnTo>
                  <a:pt x="10400" y="1548"/>
                </a:lnTo>
                <a:lnTo>
                  <a:pt x="10379" y="1541"/>
                </a:lnTo>
                <a:lnTo>
                  <a:pt x="10359" y="1532"/>
                </a:lnTo>
                <a:lnTo>
                  <a:pt x="10340" y="1520"/>
                </a:lnTo>
                <a:lnTo>
                  <a:pt x="10324" y="1509"/>
                </a:lnTo>
                <a:lnTo>
                  <a:pt x="10309" y="1495"/>
                </a:lnTo>
                <a:lnTo>
                  <a:pt x="10283" y="1461"/>
                </a:lnTo>
                <a:lnTo>
                  <a:pt x="10264" y="1421"/>
                </a:lnTo>
                <a:lnTo>
                  <a:pt x="10257" y="1398"/>
                </a:lnTo>
                <a:lnTo>
                  <a:pt x="10253" y="1374"/>
                </a:lnTo>
                <a:lnTo>
                  <a:pt x="10248" y="1323"/>
                </a:lnTo>
                <a:lnTo>
                  <a:pt x="10253" y="1271"/>
                </a:lnTo>
                <a:lnTo>
                  <a:pt x="10257" y="1247"/>
                </a:lnTo>
                <a:lnTo>
                  <a:pt x="10264" y="1224"/>
                </a:lnTo>
                <a:lnTo>
                  <a:pt x="10283" y="1184"/>
                </a:lnTo>
                <a:lnTo>
                  <a:pt x="10296" y="1165"/>
                </a:lnTo>
                <a:lnTo>
                  <a:pt x="10309" y="1149"/>
                </a:lnTo>
                <a:lnTo>
                  <a:pt x="10324" y="1134"/>
                </a:lnTo>
                <a:lnTo>
                  <a:pt x="10342" y="1123"/>
                </a:lnTo>
                <a:lnTo>
                  <a:pt x="10381" y="1102"/>
                </a:lnTo>
                <a:lnTo>
                  <a:pt x="10426" y="1089"/>
                </a:lnTo>
                <a:lnTo>
                  <a:pt x="10476" y="1086"/>
                </a:lnTo>
                <a:lnTo>
                  <a:pt x="10518" y="1089"/>
                </a:lnTo>
                <a:lnTo>
                  <a:pt x="10555" y="1099"/>
                </a:lnTo>
                <a:lnTo>
                  <a:pt x="10591" y="1113"/>
                </a:lnTo>
                <a:lnTo>
                  <a:pt x="10618" y="1132"/>
                </a:lnTo>
                <a:lnTo>
                  <a:pt x="10642" y="1158"/>
                </a:lnTo>
                <a:lnTo>
                  <a:pt x="10661" y="1187"/>
                </a:lnTo>
                <a:lnTo>
                  <a:pt x="10674" y="1221"/>
                </a:lnTo>
                <a:lnTo>
                  <a:pt x="10678" y="1239"/>
                </a:lnTo>
                <a:lnTo>
                  <a:pt x="10681" y="1260"/>
                </a:lnTo>
                <a:lnTo>
                  <a:pt x="10555" y="1260"/>
                </a:lnTo>
                <a:close/>
                <a:moveTo>
                  <a:pt x="10772" y="1239"/>
                </a:moveTo>
                <a:lnTo>
                  <a:pt x="10778" y="1202"/>
                </a:lnTo>
                <a:lnTo>
                  <a:pt x="10783" y="1187"/>
                </a:lnTo>
                <a:lnTo>
                  <a:pt x="10789" y="1171"/>
                </a:lnTo>
                <a:lnTo>
                  <a:pt x="10796" y="1158"/>
                </a:lnTo>
                <a:lnTo>
                  <a:pt x="10806" y="1145"/>
                </a:lnTo>
                <a:lnTo>
                  <a:pt x="10828" y="1125"/>
                </a:lnTo>
                <a:lnTo>
                  <a:pt x="10856" y="1108"/>
                </a:lnTo>
                <a:lnTo>
                  <a:pt x="10870" y="1100"/>
                </a:lnTo>
                <a:lnTo>
                  <a:pt x="10889" y="1095"/>
                </a:lnTo>
                <a:lnTo>
                  <a:pt x="10928" y="1089"/>
                </a:lnTo>
                <a:lnTo>
                  <a:pt x="10971" y="1086"/>
                </a:lnTo>
                <a:lnTo>
                  <a:pt x="11019" y="1089"/>
                </a:lnTo>
                <a:lnTo>
                  <a:pt x="11061" y="1099"/>
                </a:lnTo>
                <a:lnTo>
                  <a:pt x="11097" y="1112"/>
                </a:lnTo>
                <a:lnTo>
                  <a:pt x="11126" y="1132"/>
                </a:lnTo>
                <a:lnTo>
                  <a:pt x="11147" y="1156"/>
                </a:lnTo>
                <a:lnTo>
                  <a:pt x="11154" y="1169"/>
                </a:lnTo>
                <a:lnTo>
                  <a:pt x="11162" y="1184"/>
                </a:lnTo>
                <a:lnTo>
                  <a:pt x="11169" y="1219"/>
                </a:lnTo>
                <a:lnTo>
                  <a:pt x="11171" y="1263"/>
                </a:lnTo>
                <a:lnTo>
                  <a:pt x="11171" y="1469"/>
                </a:lnTo>
                <a:lnTo>
                  <a:pt x="11171" y="1498"/>
                </a:lnTo>
                <a:lnTo>
                  <a:pt x="11174" y="1517"/>
                </a:lnTo>
                <a:lnTo>
                  <a:pt x="11178" y="1532"/>
                </a:lnTo>
                <a:lnTo>
                  <a:pt x="11187" y="1546"/>
                </a:lnTo>
                <a:lnTo>
                  <a:pt x="11054" y="1546"/>
                </a:lnTo>
                <a:lnTo>
                  <a:pt x="11043" y="1511"/>
                </a:lnTo>
                <a:lnTo>
                  <a:pt x="11011" y="1533"/>
                </a:lnTo>
                <a:lnTo>
                  <a:pt x="10982" y="1548"/>
                </a:lnTo>
                <a:lnTo>
                  <a:pt x="10950" y="1556"/>
                </a:lnTo>
                <a:lnTo>
                  <a:pt x="10915" y="1557"/>
                </a:lnTo>
                <a:lnTo>
                  <a:pt x="10880" y="1556"/>
                </a:lnTo>
                <a:lnTo>
                  <a:pt x="10846" y="1548"/>
                </a:lnTo>
                <a:lnTo>
                  <a:pt x="10819" y="1535"/>
                </a:lnTo>
                <a:lnTo>
                  <a:pt x="10794" y="1519"/>
                </a:lnTo>
                <a:lnTo>
                  <a:pt x="10776" y="1498"/>
                </a:lnTo>
                <a:lnTo>
                  <a:pt x="10761" y="1474"/>
                </a:lnTo>
                <a:lnTo>
                  <a:pt x="10752" y="1448"/>
                </a:lnTo>
                <a:lnTo>
                  <a:pt x="10750" y="1417"/>
                </a:lnTo>
                <a:lnTo>
                  <a:pt x="10752" y="1387"/>
                </a:lnTo>
                <a:lnTo>
                  <a:pt x="10759" y="1361"/>
                </a:lnTo>
                <a:lnTo>
                  <a:pt x="10772" y="1339"/>
                </a:lnTo>
                <a:lnTo>
                  <a:pt x="10793" y="1319"/>
                </a:lnTo>
                <a:lnTo>
                  <a:pt x="10817" y="1304"/>
                </a:lnTo>
                <a:lnTo>
                  <a:pt x="10846" y="1289"/>
                </a:lnTo>
                <a:lnTo>
                  <a:pt x="10883" y="1278"/>
                </a:lnTo>
                <a:lnTo>
                  <a:pt x="10928" y="1269"/>
                </a:lnTo>
                <a:lnTo>
                  <a:pt x="11000" y="1258"/>
                </a:lnTo>
                <a:lnTo>
                  <a:pt x="11019" y="1254"/>
                </a:lnTo>
                <a:lnTo>
                  <a:pt x="11030" y="1247"/>
                </a:lnTo>
                <a:lnTo>
                  <a:pt x="11037" y="1239"/>
                </a:lnTo>
                <a:lnTo>
                  <a:pt x="11039" y="1226"/>
                </a:lnTo>
                <a:lnTo>
                  <a:pt x="11035" y="1210"/>
                </a:lnTo>
                <a:lnTo>
                  <a:pt x="11021" y="1197"/>
                </a:lnTo>
                <a:lnTo>
                  <a:pt x="11000" y="1189"/>
                </a:lnTo>
                <a:lnTo>
                  <a:pt x="10971" y="1186"/>
                </a:lnTo>
                <a:lnTo>
                  <a:pt x="10939" y="1189"/>
                </a:lnTo>
                <a:lnTo>
                  <a:pt x="10915" y="1199"/>
                </a:lnTo>
                <a:lnTo>
                  <a:pt x="10906" y="1206"/>
                </a:lnTo>
                <a:lnTo>
                  <a:pt x="10898" y="1215"/>
                </a:lnTo>
                <a:lnTo>
                  <a:pt x="10895" y="1226"/>
                </a:lnTo>
                <a:lnTo>
                  <a:pt x="10891" y="1239"/>
                </a:lnTo>
                <a:lnTo>
                  <a:pt x="10772" y="1239"/>
                </a:lnTo>
                <a:close/>
                <a:moveTo>
                  <a:pt x="11043" y="1332"/>
                </a:moveTo>
                <a:lnTo>
                  <a:pt x="10995" y="1347"/>
                </a:lnTo>
                <a:lnTo>
                  <a:pt x="10946" y="1356"/>
                </a:lnTo>
                <a:lnTo>
                  <a:pt x="10917" y="1365"/>
                </a:lnTo>
                <a:lnTo>
                  <a:pt x="10896" y="1378"/>
                </a:lnTo>
                <a:lnTo>
                  <a:pt x="10883" y="1393"/>
                </a:lnTo>
                <a:lnTo>
                  <a:pt x="10880" y="1409"/>
                </a:lnTo>
                <a:lnTo>
                  <a:pt x="10883" y="1430"/>
                </a:lnTo>
                <a:lnTo>
                  <a:pt x="10896" y="1445"/>
                </a:lnTo>
                <a:lnTo>
                  <a:pt x="10919" y="1454"/>
                </a:lnTo>
                <a:lnTo>
                  <a:pt x="10946" y="1458"/>
                </a:lnTo>
                <a:lnTo>
                  <a:pt x="10976" y="1454"/>
                </a:lnTo>
                <a:lnTo>
                  <a:pt x="10991" y="1450"/>
                </a:lnTo>
                <a:lnTo>
                  <a:pt x="11004" y="1443"/>
                </a:lnTo>
                <a:lnTo>
                  <a:pt x="11024" y="1426"/>
                </a:lnTo>
                <a:lnTo>
                  <a:pt x="11043" y="1400"/>
                </a:lnTo>
                <a:lnTo>
                  <a:pt x="11043" y="1332"/>
                </a:lnTo>
                <a:close/>
                <a:moveTo>
                  <a:pt x="11516" y="1197"/>
                </a:moveTo>
                <a:lnTo>
                  <a:pt x="11436" y="1197"/>
                </a:lnTo>
                <a:lnTo>
                  <a:pt x="11436" y="1371"/>
                </a:lnTo>
                <a:lnTo>
                  <a:pt x="11436" y="1411"/>
                </a:lnTo>
                <a:lnTo>
                  <a:pt x="11441" y="1435"/>
                </a:lnTo>
                <a:lnTo>
                  <a:pt x="11445" y="1441"/>
                </a:lnTo>
                <a:lnTo>
                  <a:pt x="11451" y="1445"/>
                </a:lnTo>
                <a:lnTo>
                  <a:pt x="11469" y="1446"/>
                </a:lnTo>
                <a:lnTo>
                  <a:pt x="11516" y="1446"/>
                </a:lnTo>
                <a:lnTo>
                  <a:pt x="11516" y="1546"/>
                </a:lnTo>
                <a:lnTo>
                  <a:pt x="11436" y="1546"/>
                </a:lnTo>
                <a:lnTo>
                  <a:pt x="11397" y="1545"/>
                </a:lnTo>
                <a:lnTo>
                  <a:pt x="11369" y="1539"/>
                </a:lnTo>
                <a:lnTo>
                  <a:pt x="11347" y="1530"/>
                </a:lnTo>
                <a:lnTo>
                  <a:pt x="11330" y="1517"/>
                </a:lnTo>
                <a:lnTo>
                  <a:pt x="11317" y="1498"/>
                </a:lnTo>
                <a:lnTo>
                  <a:pt x="11310" y="1476"/>
                </a:lnTo>
                <a:lnTo>
                  <a:pt x="11304" y="1445"/>
                </a:lnTo>
                <a:lnTo>
                  <a:pt x="11304" y="1400"/>
                </a:lnTo>
                <a:lnTo>
                  <a:pt x="11304" y="1197"/>
                </a:lnTo>
                <a:lnTo>
                  <a:pt x="11241" y="1197"/>
                </a:lnTo>
                <a:lnTo>
                  <a:pt x="11241" y="1104"/>
                </a:lnTo>
                <a:lnTo>
                  <a:pt x="11304" y="1104"/>
                </a:lnTo>
                <a:lnTo>
                  <a:pt x="11304" y="962"/>
                </a:lnTo>
                <a:lnTo>
                  <a:pt x="11436" y="962"/>
                </a:lnTo>
                <a:lnTo>
                  <a:pt x="11436" y="1104"/>
                </a:lnTo>
                <a:lnTo>
                  <a:pt x="11516" y="1104"/>
                </a:lnTo>
                <a:lnTo>
                  <a:pt x="11516" y="1197"/>
                </a:lnTo>
                <a:close/>
                <a:moveTo>
                  <a:pt x="11738" y="1036"/>
                </a:moveTo>
                <a:lnTo>
                  <a:pt x="11606" y="1036"/>
                </a:lnTo>
                <a:lnTo>
                  <a:pt x="11606" y="928"/>
                </a:lnTo>
                <a:lnTo>
                  <a:pt x="11738" y="928"/>
                </a:lnTo>
                <a:lnTo>
                  <a:pt x="11738" y="1036"/>
                </a:lnTo>
                <a:close/>
                <a:moveTo>
                  <a:pt x="11738" y="1546"/>
                </a:moveTo>
                <a:lnTo>
                  <a:pt x="11606" y="1546"/>
                </a:lnTo>
                <a:lnTo>
                  <a:pt x="11606" y="1099"/>
                </a:lnTo>
                <a:lnTo>
                  <a:pt x="11738" y="1099"/>
                </a:lnTo>
                <a:lnTo>
                  <a:pt x="11738" y="1546"/>
                </a:lnTo>
                <a:close/>
                <a:moveTo>
                  <a:pt x="12307" y="1324"/>
                </a:moveTo>
                <a:lnTo>
                  <a:pt x="12303" y="1374"/>
                </a:lnTo>
                <a:lnTo>
                  <a:pt x="12290" y="1419"/>
                </a:lnTo>
                <a:lnTo>
                  <a:pt x="12268" y="1458"/>
                </a:lnTo>
                <a:lnTo>
                  <a:pt x="12255" y="1476"/>
                </a:lnTo>
                <a:lnTo>
                  <a:pt x="12240" y="1493"/>
                </a:lnTo>
                <a:lnTo>
                  <a:pt x="12224" y="1508"/>
                </a:lnTo>
                <a:lnTo>
                  <a:pt x="12205" y="1520"/>
                </a:lnTo>
                <a:lnTo>
                  <a:pt x="12164" y="1541"/>
                </a:lnTo>
                <a:lnTo>
                  <a:pt x="12118" y="1554"/>
                </a:lnTo>
                <a:lnTo>
                  <a:pt x="12094" y="1556"/>
                </a:lnTo>
                <a:lnTo>
                  <a:pt x="12068" y="1557"/>
                </a:lnTo>
                <a:lnTo>
                  <a:pt x="12018" y="1554"/>
                </a:lnTo>
                <a:lnTo>
                  <a:pt x="11973" y="1541"/>
                </a:lnTo>
                <a:lnTo>
                  <a:pt x="11933" y="1519"/>
                </a:lnTo>
                <a:lnTo>
                  <a:pt x="11914" y="1506"/>
                </a:lnTo>
                <a:lnTo>
                  <a:pt x="11897" y="1491"/>
                </a:lnTo>
                <a:lnTo>
                  <a:pt x="11883" y="1476"/>
                </a:lnTo>
                <a:lnTo>
                  <a:pt x="11870" y="1458"/>
                </a:lnTo>
                <a:lnTo>
                  <a:pt x="11849" y="1417"/>
                </a:lnTo>
                <a:lnTo>
                  <a:pt x="11836" y="1371"/>
                </a:lnTo>
                <a:lnTo>
                  <a:pt x="11833" y="1347"/>
                </a:lnTo>
                <a:lnTo>
                  <a:pt x="11831" y="1321"/>
                </a:lnTo>
                <a:lnTo>
                  <a:pt x="11836" y="1273"/>
                </a:lnTo>
                <a:lnTo>
                  <a:pt x="11849" y="1226"/>
                </a:lnTo>
                <a:lnTo>
                  <a:pt x="11870" y="1186"/>
                </a:lnTo>
                <a:lnTo>
                  <a:pt x="11883" y="1169"/>
                </a:lnTo>
                <a:lnTo>
                  <a:pt x="11897" y="1152"/>
                </a:lnTo>
                <a:lnTo>
                  <a:pt x="11914" y="1137"/>
                </a:lnTo>
                <a:lnTo>
                  <a:pt x="11933" y="1125"/>
                </a:lnTo>
                <a:lnTo>
                  <a:pt x="11973" y="1104"/>
                </a:lnTo>
                <a:lnTo>
                  <a:pt x="12018" y="1091"/>
                </a:lnTo>
                <a:lnTo>
                  <a:pt x="12044" y="1088"/>
                </a:lnTo>
                <a:lnTo>
                  <a:pt x="12068" y="1086"/>
                </a:lnTo>
                <a:lnTo>
                  <a:pt x="12120" y="1091"/>
                </a:lnTo>
                <a:lnTo>
                  <a:pt x="12166" y="1104"/>
                </a:lnTo>
                <a:lnTo>
                  <a:pt x="12207" y="1125"/>
                </a:lnTo>
                <a:lnTo>
                  <a:pt x="12226" y="1137"/>
                </a:lnTo>
                <a:lnTo>
                  <a:pt x="12242" y="1152"/>
                </a:lnTo>
                <a:lnTo>
                  <a:pt x="12257" y="1169"/>
                </a:lnTo>
                <a:lnTo>
                  <a:pt x="12270" y="1187"/>
                </a:lnTo>
                <a:lnTo>
                  <a:pt x="12290" y="1228"/>
                </a:lnTo>
                <a:lnTo>
                  <a:pt x="12303" y="1274"/>
                </a:lnTo>
                <a:lnTo>
                  <a:pt x="12307" y="1298"/>
                </a:lnTo>
                <a:lnTo>
                  <a:pt x="12307" y="1324"/>
                </a:lnTo>
                <a:close/>
                <a:moveTo>
                  <a:pt x="11964" y="1321"/>
                </a:moveTo>
                <a:lnTo>
                  <a:pt x="11966" y="1352"/>
                </a:lnTo>
                <a:lnTo>
                  <a:pt x="11972" y="1378"/>
                </a:lnTo>
                <a:lnTo>
                  <a:pt x="11979" y="1400"/>
                </a:lnTo>
                <a:lnTo>
                  <a:pt x="11992" y="1419"/>
                </a:lnTo>
                <a:lnTo>
                  <a:pt x="12007" y="1434"/>
                </a:lnTo>
                <a:lnTo>
                  <a:pt x="12025" y="1445"/>
                </a:lnTo>
                <a:lnTo>
                  <a:pt x="12046" y="1450"/>
                </a:lnTo>
                <a:lnTo>
                  <a:pt x="12070" y="1452"/>
                </a:lnTo>
                <a:lnTo>
                  <a:pt x="12094" y="1450"/>
                </a:lnTo>
                <a:lnTo>
                  <a:pt x="12114" y="1445"/>
                </a:lnTo>
                <a:lnTo>
                  <a:pt x="12131" y="1434"/>
                </a:lnTo>
                <a:lnTo>
                  <a:pt x="12148" y="1419"/>
                </a:lnTo>
                <a:lnTo>
                  <a:pt x="12153" y="1409"/>
                </a:lnTo>
                <a:lnTo>
                  <a:pt x="12159" y="1400"/>
                </a:lnTo>
                <a:lnTo>
                  <a:pt x="12168" y="1378"/>
                </a:lnTo>
                <a:lnTo>
                  <a:pt x="12174" y="1354"/>
                </a:lnTo>
                <a:lnTo>
                  <a:pt x="12176" y="1324"/>
                </a:lnTo>
                <a:lnTo>
                  <a:pt x="12174" y="1293"/>
                </a:lnTo>
                <a:lnTo>
                  <a:pt x="12168" y="1267"/>
                </a:lnTo>
                <a:lnTo>
                  <a:pt x="12159" y="1245"/>
                </a:lnTo>
                <a:lnTo>
                  <a:pt x="12148" y="1224"/>
                </a:lnTo>
                <a:lnTo>
                  <a:pt x="12133" y="1210"/>
                </a:lnTo>
                <a:lnTo>
                  <a:pt x="12114" y="1200"/>
                </a:lnTo>
                <a:lnTo>
                  <a:pt x="12094" y="1193"/>
                </a:lnTo>
                <a:lnTo>
                  <a:pt x="12068" y="1191"/>
                </a:lnTo>
                <a:lnTo>
                  <a:pt x="12046" y="1193"/>
                </a:lnTo>
                <a:lnTo>
                  <a:pt x="12024" y="1199"/>
                </a:lnTo>
                <a:lnTo>
                  <a:pt x="12007" y="1210"/>
                </a:lnTo>
                <a:lnTo>
                  <a:pt x="11992" y="1224"/>
                </a:lnTo>
                <a:lnTo>
                  <a:pt x="11985" y="1234"/>
                </a:lnTo>
                <a:lnTo>
                  <a:pt x="11979" y="1243"/>
                </a:lnTo>
                <a:lnTo>
                  <a:pt x="11972" y="1265"/>
                </a:lnTo>
                <a:lnTo>
                  <a:pt x="11966" y="1291"/>
                </a:lnTo>
                <a:lnTo>
                  <a:pt x="11964" y="1321"/>
                </a:lnTo>
                <a:close/>
                <a:moveTo>
                  <a:pt x="12530" y="1099"/>
                </a:moveTo>
                <a:lnTo>
                  <a:pt x="12530" y="1141"/>
                </a:lnTo>
                <a:lnTo>
                  <a:pt x="12563" y="1113"/>
                </a:lnTo>
                <a:lnTo>
                  <a:pt x="12591" y="1097"/>
                </a:lnTo>
                <a:lnTo>
                  <a:pt x="12620" y="1088"/>
                </a:lnTo>
                <a:lnTo>
                  <a:pt x="12652" y="1086"/>
                </a:lnTo>
                <a:lnTo>
                  <a:pt x="12687" y="1088"/>
                </a:lnTo>
                <a:lnTo>
                  <a:pt x="12717" y="1097"/>
                </a:lnTo>
                <a:lnTo>
                  <a:pt x="12745" y="1112"/>
                </a:lnTo>
                <a:lnTo>
                  <a:pt x="12767" y="1130"/>
                </a:lnTo>
                <a:lnTo>
                  <a:pt x="12785" y="1156"/>
                </a:lnTo>
                <a:lnTo>
                  <a:pt x="12798" y="1184"/>
                </a:lnTo>
                <a:lnTo>
                  <a:pt x="12806" y="1217"/>
                </a:lnTo>
                <a:lnTo>
                  <a:pt x="12810" y="1256"/>
                </a:lnTo>
                <a:lnTo>
                  <a:pt x="12810" y="1546"/>
                </a:lnTo>
                <a:lnTo>
                  <a:pt x="12678" y="1546"/>
                </a:lnTo>
                <a:lnTo>
                  <a:pt x="12678" y="1302"/>
                </a:lnTo>
                <a:lnTo>
                  <a:pt x="12676" y="1273"/>
                </a:lnTo>
                <a:lnTo>
                  <a:pt x="12674" y="1252"/>
                </a:lnTo>
                <a:lnTo>
                  <a:pt x="12670" y="1236"/>
                </a:lnTo>
                <a:lnTo>
                  <a:pt x="12663" y="1223"/>
                </a:lnTo>
                <a:lnTo>
                  <a:pt x="12654" y="1211"/>
                </a:lnTo>
                <a:lnTo>
                  <a:pt x="12641" y="1202"/>
                </a:lnTo>
                <a:lnTo>
                  <a:pt x="12626" y="1199"/>
                </a:lnTo>
                <a:lnTo>
                  <a:pt x="12609" y="1197"/>
                </a:lnTo>
                <a:lnTo>
                  <a:pt x="12578" y="1202"/>
                </a:lnTo>
                <a:lnTo>
                  <a:pt x="12565" y="1210"/>
                </a:lnTo>
                <a:lnTo>
                  <a:pt x="12552" y="1221"/>
                </a:lnTo>
                <a:lnTo>
                  <a:pt x="12543" y="1234"/>
                </a:lnTo>
                <a:lnTo>
                  <a:pt x="12537" y="1248"/>
                </a:lnTo>
                <a:lnTo>
                  <a:pt x="12533" y="1269"/>
                </a:lnTo>
                <a:lnTo>
                  <a:pt x="12533" y="1295"/>
                </a:lnTo>
                <a:lnTo>
                  <a:pt x="12533" y="1546"/>
                </a:lnTo>
                <a:lnTo>
                  <a:pt x="12402" y="1546"/>
                </a:lnTo>
                <a:lnTo>
                  <a:pt x="12402" y="1099"/>
                </a:lnTo>
                <a:lnTo>
                  <a:pt x="12530" y="1099"/>
                </a:lnTo>
                <a:close/>
                <a:moveTo>
                  <a:pt x="4414" y="2472"/>
                </a:moveTo>
                <a:lnTo>
                  <a:pt x="4275" y="2472"/>
                </a:lnTo>
                <a:lnTo>
                  <a:pt x="4275" y="1854"/>
                </a:lnTo>
                <a:lnTo>
                  <a:pt x="4518" y="1854"/>
                </a:lnTo>
                <a:lnTo>
                  <a:pt x="4573" y="1857"/>
                </a:lnTo>
                <a:lnTo>
                  <a:pt x="4618" y="1865"/>
                </a:lnTo>
                <a:lnTo>
                  <a:pt x="4655" y="1879"/>
                </a:lnTo>
                <a:lnTo>
                  <a:pt x="4671" y="1889"/>
                </a:lnTo>
                <a:lnTo>
                  <a:pt x="4686" y="1902"/>
                </a:lnTo>
                <a:lnTo>
                  <a:pt x="4701" y="1916"/>
                </a:lnTo>
                <a:lnTo>
                  <a:pt x="4714" y="1933"/>
                </a:lnTo>
                <a:lnTo>
                  <a:pt x="4736" y="1972"/>
                </a:lnTo>
                <a:lnTo>
                  <a:pt x="4749" y="2015"/>
                </a:lnTo>
                <a:lnTo>
                  <a:pt x="4751" y="2039"/>
                </a:lnTo>
                <a:lnTo>
                  <a:pt x="4753" y="2063"/>
                </a:lnTo>
                <a:lnTo>
                  <a:pt x="4749" y="2103"/>
                </a:lnTo>
                <a:lnTo>
                  <a:pt x="4740" y="2142"/>
                </a:lnTo>
                <a:lnTo>
                  <a:pt x="4733" y="2159"/>
                </a:lnTo>
                <a:lnTo>
                  <a:pt x="4723" y="2175"/>
                </a:lnTo>
                <a:lnTo>
                  <a:pt x="4699" y="2205"/>
                </a:lnTo>
                <a:lnTo>
                  <a:pt x="4670" y="2231"/>
                </a:lnTo>
                <a:lnTo>
                  <a:pt x="4634" y="2248"/>
                </a:lnTo>
                <a:lnTo>
                  <a:pt x="4594" y="2259"/>
                </a:lnTo>
                <a:lnTo>
                  <a:pt x="4544" y="2262"/>
                </a:lnTo>
                <a:lnTo>
                  <a:pt x="4414" y="2262"/>
                </a:lnTo>
                <a:lnTo>
                  <a:pt x="4414" y="2472"/>
                </a:lnTo>
                <a:close/>
                <a:moveTo>
                  <a:pt x="4523" y="2144"/>
                </a:moveTo>
                <a:lnTo>
                  <a:pt x="4560" y="2137"/>
                </a:lnTo>
                <a:lnTo>
                  <a:pt x="4575" y="2131"/>
                </a:lnTo>
                <a:lnTo>
                  <a:pt x="4588" y="2120"/>
                </a:lnTo>
                <a:lnTo>
                  <a:pt x="4597" y="2109"/>
                </a:lnTo>
                <a:lnTo>
                  <a:pt x="4605" y="2094"/>
                </a:lnTo>
                <a:lnTo>
                  <a:pt x="4608" y="2077"/>
                </a:lnTo>
                <a:lnTo>
                  <a:pt x="4610" y="2059"/>
                </a:lnTo>
                <a:lnTo>
                  <a:pt x="4608" y="2039"/>
                </a:lnTo>
                <a:lnTo>
                  <a:pt x="4605" y="2022"/>
                </a:lnTo>
                <a:lnTo>
                  <a:pt x="4597" y="2007"/>
                </a:lnTo>
                <a:lnTo>
                  <a:pt x="4588" y="1996"/>
                </a:lnTo>
                <a:lnTo>
                  <a:pt x="4575" y="1985"/>
                </a:lnTo>
                <a:lnTo>
                  <a:pt x="4560" y="1979"/>
                </a:lnTo>
                <a:lnTo>
                  <a:pt x="4523" y="1974"/>
                </a:lnTo>
                <a:lnTo>
                  <a:pt x="4414" y="1974"/>
                </a:lnTo>
                <a:lnTo>
                  <a:pt x="4414" y="2144"/>
                </a:lnTo>
                <a:lnTo>
                  <a:pt x="4523" y="2144"/>
                </a:lnTo>
                <a:close/>
                <a:moveTo>
                  <a:pt x="4963" y="2026"/>
                </a:moveTo>
                <a:lnTo>
                  <a:pt x="4959" y="2105"/>
                </a:lnTo>
                <a:lnTo>
                  <a:pt x="4968" y="2079"/>
                </a:lnTo>
                <a:lnTo>
                  <a:pt x="4979" y="2059"/>
                </a:lnTo>
                <a:lnTo>
                  <a:pt x="4994" y="2044"/>
                </a:lnTo>
                <a:lnTo>
                  <a:pt x="5009" y="2031"/>
                </a:lnTo>
                <a:lnTo>
                  <a:pt x="5029" y="2022"/>
                </a:lnTo>
                <a:lnTo>
                  <a:pt x="5052" y="2016"/>
                </a:lnTo>
                <a:lnTo>
                  <a:pt x="5079" y="2013"/>
                </a:lnTo>
                <a:lnTo>
                  <a:pt x="5113" y="2013"/>
                </a:lnTo>
                <a:lnTo>
                  <a:pt x="5113" y="2137"/>
                </a:lnTo>
                <a:lnTo>
                  <a:pt x="5079" y="2135"/>
                </a:lnTo>
                <a:lnTo>
                  <a:pt x="5048" y="2138"/>
                </a:lnTo>
                <a:lnTo>
                  <a:pt x="5033" y="2144"/>
                </a:lnTo>
                <a:lnTo>
                  <a:pt x="5020" y="2150"/>
                </a:lnTo>
                <a:lnTo>
                  <a:pt x="4998" y="2166"/>
                </a:lnTo>
                <a:lnTo>
                  <a:pt x="4983" y="2188"/>
                </a:lnTo>
                <a:lnTo>
                  <a:pt x="4974" y="2214"/>
                </a:lnTo>
                <a:lnTo>
                  <a:pt x="4968" y="2246"/>
                </a:lnTo>
                <a:lnTo>
                  <a:pt x="4964" y="2346"/>
                </a:lnTo>
                <a:lnTo>
                  <a:pt x="4964" y="2472"/>
                </a:lnTo>
                <a:lnTo>
                  <a:pt x="4833" y="2472"/>
                </a:lnTo>
                <a:lnTo>
                  <a:pt x="4833" y="2026"/>
                </a:lnTo>
                <a:lnTo>
                  <a:pt x="4963" y="2026"/>
                </a:lnTo>
                <a:close/>
                <a:moveTo>
                  <a:pt x="5639" y="2251"/>
                </a:moveTo>
                <a:lnTo>
                  <a:pt x="5634" y="2301"/>
                </a:lnTo>
                <a:lnTo>
                  <a:pt x="5621" y="2346"/>
                </a:lnTo>
                <a:lnTo>
                  <a:pt x="5600" y="2385"/>
                </a:lnTo>
                <a:lnTo>
                  <a:pt x="5585" y="2403"/>
                </a:lnTo>
                <a:lnTo>
                  <a:pt x="5571" y="2418"/>
                </a:lnTo>
                <a:lnTo>
                  <a:pt x="5554" y="2433"/>
                </a:lnTo>
                <a:lnTo>
                  <a:pt x="5537" y="2446"/>
                </a:lnTo>
                <a:lnTo>
                  <a:pt x="5496" y="2468"/>
                </a:lnTo>
                <a:lnTo>
                  <a:pt x="5450" y="2479"/>
                </a:lnTo>
                <a:lnTo>
                  <a:pt x="5426" y="2483"/>
                </a:lnTo>
                <a:lnTo>
                  <a:pt x="5400" y="2484"/>
                </a:lnTo>
                <a:lnTo>
                  <a:pt x="5350" y="2479"/>
                </a:lnTo>
                <a:lnTo>
                  <a:pt x="5304" y="2466"/>
                </a:lnTo>
                <a:lnTo>
                  <a:pt x="5265" y="2446"/>
                </a:lnTo>
                <a:lnTo>
                  <a:pt x="5246" y="2433"/>
                </a:lnTo>
                <a:lnTo>
                  <a:pt x="5229" y="2418"/>
                </a:lnTo>
                <a:lnTo>
                  <a:pt x="5215" y="2401"/>
                </a:lnTo>
                <a:lnTo>
                  <a:pt x="5202" y="2385"/>
                </a:lnTo>
                <a:lnTo>
                  <a:pt x="5179" y="2344"/>
                </a:lnTo>
                <a:lnTo>
                  <a:pt x="5166" y="2298"/>
                </a:lnTo>
                <a:lnTo>
                  <a:pt x="5165" y="2274"/>
                </a:lnTo>
                <a:lnTo>
                  <a:pt x="5163" y="2248"/>
                </a:lnTo>
                <a:lnTo>
                  <a:pt x="5166" y="2198"/>
                </a:lnTo>
                <a:lnTo>
                  <a:pt x="5179" y="2153"/>
                </a:lnTo>
                <a:lnTo>
                  <a:pt x="5202" y="2113"/>
                </a:lnTo>
                <a:lnTo>
                  <a:pt x="5215" y="2096"/>
                </a:lnTo>
                <a:lnTo>
                  <a:pt x="5229" y="2079"/>
                </a:lnTo>
                <a:lnTo>
                  <a:pt x="5246" y="2064"/>
                </a:lnTo>
                <a:lnTo>
                  <a:pt x="5265" y="2052"/>
                </a:lnTo>
                <a:lnTo>
                  <a:pt x="5304" y="2029"/>
                </a:lnTo>
                <a:lnTo>
                  <a:pt x="5350" y="2016"/>
                </a:lnTo>
                <a:lnTo>
                  <a:pt x="5374" y="2015"/>
                </a:lnTo>
                <a:lnTo>
                  <a:pt x="5400" y="2013"/>
                </a:lnTo>
                <a:lnTo>
                  <a:pt x="5452" y="2016"/>
                </a:lnTo>
                <a:lnTo>
                  <a:pt x="5496" y="2029"/>
                </a:lnTo>
                <a:lnTo>
                  <a:pt x="5537" y="2052"/>
                </a:lnTo>
                <a:lnTo>
                  <a:pt x="5556" y="2064"/>
                </a:lnTo>
                <a:lnTo>
                  <a:pt x="5572" y="2079"/>
                </a:lnTo>
                <a:lnTo>
                  <a:pt x="5587" y="2096"/>
                </a:lnTo>
                <a:lnTo>
                  <a:pt x="5600" y="2113"/>
                </a:lnTo>
                <a:lnTo>
                  <a:pt x="5621" y="2155"/>
                </a:lnTo>
                <a:lnTo>
                  <a:pt x="5634" y="2201"/>
                </a:lnTo>
                <a:lnTo>
                  <a:pt x="5637" y="2225"/>
                </a:lnTo>
                <a:lnTo>
                  <a:pt x="5639" y="2251"/>
                </a:lnTo>
                <a:close/>
                <a:moveTo>
                  <a:pt x="5296" y="2248"/>
                </a:moveTo>
                <a:lnTo>
                  <a:pt x="5296" y="2277"/>
                </a:lnTo>
                <a:lnTo>
                  <a:pt x="5302" y="2305"/>
                </a:lnTo>
                <a:lnTo>
                  <a:pt x="5311" y="2327"/>
                </a:lnTo>
                <a:lnTo>
                  <a:pt x="5322" y="2346"/>
                </a:lnTo>
                <a:lnTo>
                  <a:pt x="5337" y="2361"/>
                </a:lnTo>
                <a:lnTo>
                  <a:pt x="5356" y="2372"/>
                </a:lnTo>
                <a:lnTo>
                  <a:pt x="5378" y="2377"/>
                </a:lnTo>
                <a:lnTo>
                  <a:pt x="5402" y="2379"/>
                </a:lnTo>
                <a:lnTo>
                  <a:pt x="5424" y="2377"/>
                </a:lnTo>
                <a:lnTo>
                  <a:pt x="5445" y="2372"/>
                </a:lnTo>
                <a:lnTo>
                  <a:pt x="5463" y="2361"/>
                </a:lnTo>
                <a:lnTo>
                  <a:pt x="5478" y="2346"/>
                </a:lnTo>
                <a:lnTo>
                  <a:pt x="5485" y="2336"/>
                </a:lnTo>
                <a:lnTo>
                  <a:pt x="5491" y="2327"/>
                </a:lnTo>
                <a:lnTo>
                  <a:pt x="5498" y="2305"/>
                </a:lnTo>
                <a:lnTo>
                  <a:pt x="5504" y="2279"/>
                </a:lnTo>
                <a:lnTo>
                  <a:pt x="5506" y="2251"/>
                </a:lnTo>
                <a:lnTo>
                  <a:pt x="5504" y="2220"/>
                </a:lnTo>
                <a:lnTo>
                  <a:pt x="5498" y="2194"/>
                </a:lnTo>
                <a:lnTo>
                  <a:pt x="5491" y="2170"/>
                </a:lnTo>
                <a:lnTo>
                  <a:pt x="5478" y="2151"/>
                </a:lnTo>
                <a:lnTo>
                  <a:pt x="5463" y="2137"/>
                </a:lnTo>
                <a:lnTo>
                  <a:pt x="5446" y="2126"/>
                </a:lnTo>
                <a:lnTo>
                  <a:pt x="5424" y="2120"/>
                </a:lnTo>
                <a:lnTo>
                  <a:pt x="5400" y="2118"/>
                </a:lnTo>
                <a:lnTo>
                  <a:pt x="5376" y="2120"/>
                </a:lnTo>
                <a:lnTo>
                  <a:pt x="5356" y="2126"/>
                </a:lnTo>
                <a:lnTo>
                  <a:pt x="5337" y="2137"/>
                </a:lnTo>
                <a:lnTo>
                  <a:pt x="5322" y="2151"/>
                </a:lnTo>
                <a:lnTo>
                  <a:pt x="5317" y="2161"/>
                </a:lnTo>
                <a:lnTo>
                  <a:pt x="5311" y="2170"/>
                </a:lnTo>
                <a:lnTo>
                  <a:pt x="5302" y="2192"/>
                </a:lnTo>
                <a:lnTo>
                  <a:pt x="5296" y="2218"/>
                </a:lnTo>
                <a:lnTo>
                  <a:pt x="5296" y="2248"/>
                </a:lnTo>
                <a:close/>
                <a:moveTo>
                  <a:pt x="5962" y="2124"/>
                </a:moveTo>
                <a:lnTo>
                  <a:pt x="5876" y="2124"/>
                </a:lnTo>
                <a:lnTo>
                  <a:pt x="5876" y="2472"/>
                </a:lnTo>
                <a:lnTo>
                  <a:pt x="5745" y="2472"/>
                </a:lnTo>
                <a:lnTo>
                  <a:pt x="5745" y="2124"/>
                </a:lnTo>
                <a:lnTo>
                  <a:pt x="5682" y="2124"/>
                </a:lnTo>
                <a:lnTo>
                  <a:pt x="5682" y="2031"/>
                </a:lnTo>
                <a:lnTo>
                  <a:pt x="5745" y="2031"/>
                </a:lnTo>
                <a:lnTo>
                  <a:pt x="5745" y="1998"/>
                </a:lnTo>
                <a:lnTo>
                  <a:pt x="5747" y="1965"/>
                </a:lnTo>
                <a:lnTo>
                  <a:pt x="5754" y="1935"/>
                </a:lnTo>
                <a:lnTo>
                  <a:pt x="5765" y="1911"/>
                </a:lnTo>
                <a:lnTo>
                  <a:pt x="5780" y="1891"/>
                </a:lnTo>
                <a:lnTo>
                  <a:pt x="5800" y="1874"/>
                </a:lnTo>
                <a:lnTo>
                  <a:pt x="5826" y="1863"/>
                </a:lnTo>
                <a:lnTo>
                  <a:pt x="5856" y="1857"/>
                </a:lnTo>
                <a:lnTo>
                  <a:pt x="5889" y="1854"/>
                </a:lnTo>
                <a:lnTo>
                  <a:pt x="5962" y="1854"/>
                </a:lnTo>
                <a:lnTo>
                  <a:pt x="5962" y="1959"/>
                </a:lnTo>
                <a:lnTo>
                  <a:pt x="5923" y="1959"/>
                </a:lnTo>
                <a:lnTo>
                  <a:pt x="5902" y="1961"/>
                </a:lnTo>
                <a:lnTo>
                  <a:pt x="5888" y="1970"/>
                </a:lnTo>
                <a:lnTo>
                  <a:pt x="5880" y="1981"/>
                </a:lnTo>
                <a:lnTo>
                  <a:pt x="5876" y="2000"/>
                </a:lnTo>
                <a:lnTo>
                  <a:pt x="5876" y="2031"/>
                </a:lnTo>
                <a:lnTo>
                  <a:pt x="5962" y="2031"/>
                </a:lnTo>
                <a:lnTo>
                  <a:pt x="5962" y="2124"/>
                </a:lnTo>
                <a:close/>
                <a:moveTo>
                  <a:pt x="6134" y="2287"/>
                </a:moveTo>
                <a:lnTo>
                  <a:pt x="6140" y="2309"/>
                </a:lnTo>
                <a:lnTo>
                  <a:pt x="6145" y="2327"/>
                </a:lnTo>
                <a:lnTo>
                  <a:pt x="6167" y="2357"/>
                </a:lnTo>
                <a:lnTo>
                  <a:pt x="6180" y="2368"/>
                </a:lnTo>
                <a:lnTo>
                  <a:pt x="6197" y="2375"/>
                </a:lnTo>
                <a:lnTo>
                  <a:pt x="6216" y="2379"/>
                </a:lnTo>
                <a:lnTo>
                  <a:pt x="6236" y="2381"/>
                </a:lnTo>
                <a:lnTo>
                  <a:pt x="6260" y="2379"/>
                </a:lnTo>
                <a:lnTo>
                  <a:pt x="6281" y="2372"/>
                </a:lnTo>
                <a:lnTo>
                  <a:pt x="6299" y="2359"/>
                </a:lnTo>
                <a:lnTo>
                  <a:pt x="6314" y="2342"/>
                </a:lnTo>
                <a:lnTo>
                  <a:pt x="6447" y="2342"/>
                </a:lnTo>
                <a:lnTo>
                  <a:pt x="6434" y="2373"/>
                </a:lnTo>
                <a:lnTo>
                  <a:pt x="6418" y="2401"/>
                </a:lnTo>
                <a:lnTo>
                  <a:pt x="6395" y="2425"/>
                </a:lnTo>
                <a:lnTo>
                  <a:pt x="6370" y="2446"/>
                </a:lnTo>
                <a:lnTo>
                  <a:pt x="6340" y="2462"/>
                </a:lnTo>
                <a:lnTo>
                  <a:pt x="6307" y="2473"/>
                </a:lnTo>
                <a:lnTo>
                  <a:pt x="6271" y="2483"/>
                </a:lnTo>
                <a:lnTo>
                  <a:pt x="6232" y="2484"/>
                </a:lnTo>
                <a:lnTo>
                  <a:pt x="6182" y="2481"/>
                </a:lnTo>
                <a:lnTo>
                  <a:pt x="6138" y="2468"/>
                </a:lnTo>
                <a:lnTo>
                  <a:pt x="6099" y="2447"/>
                </a:lnTo>
                <a:lnTo>
                  <a:pt x="6080" y="2435"/>
                </a:lnTo>
                <a:lnTo>
                  <a:pt x="6066" y="2420"/>
                </a:lnTo>
                <a:lnTo>
                  <a:pt x="6038" y="2385"/>
                </a:lnTo>
                <a:lnTo>
                  <a:pt x="6019" y="2346"/>
                </a:lnTo>
                <a:lnTo>
                  <a:pt x="6006" y="2299"/>
                </a:lnTo>
                <a:lnTo>
                  <a:pt x="6002" y="2275"/>
                </a:lnTo>
                <a:lnTo>
                  <a:pt x="6002" y="2249"/>
                </a:lnTo>
                <a:lnTo>
                  <a:pt x="6006" y="2200"/>
                </a:lnTo>
                <a:lnTo>
                  <a:pt x="6019" y="2153"/>
                </a:lnTo>
                <a:lnTo>
                  <a:pt x="6038" y="2113"/>
                </a:lnTo>
                <a:lnTo>
                  <a:pt x="6051" y="2094"/>
                </a:lnTo>
                <a:lnTo>
                  <a:pt x="6066" y="2079"/>
                </a:lnTo>
                <a:lnTo>
                  <a:pt x="6082" y="2064"/>
                </a:lnTo>
                <a:lnTo>
                  <a:pt x="6099" y="2052"/>
                </a:lnTo>
                <a:lnTo>
                  <a:pt x="6138" y="2029"/>
                </a:lnTo>
                <a:lnTo>
                  <a:pt x="6182" y="2016"/>
                </a:lnTo>
                <a:lnTo>
                  <a:pt x="6206" y="2015"/>
                </a:lnTo>
                <a:lnTo>
                  <a:pt x="6231" y="2013"/>
                </a:lnTo>
                <a:lnTo>
                  <a:pt x="6266" y="2015"/>
                </a:lnTo>
                <a:lnTo>
                  <a:pt x="6297" y="2022"/>
                </a:lnTo>
                <a:lnTo>
                  <a:pt x="6327" y="2033"/>
                </a:lnTo>
                <a:lnTo>
                  <a:pt x="6355" y="2048"/>
                </a:lnTo>
                <a:lnTo>
                  <a:pt x="6377" y="2066"/>
                </a:lnTo>
                <a:lnTo>
                  <a:pt x="6399" y="2089"/>
                </a:lnTo>
                <a:lnTo>
                  <a:pt x="6416" y="2114"/>
                </a:lnTo>
                <a:lnTo>
                  <a:pt x="6431" y="2144"/>
                </a:lnTo>
                <a:lnTo>
                  <a:pt x="6440" y="2174"/>
                </a:lnTo>
                <a:lnTo>
                  <a:pt x="6447" y="2207"/>
                </a:lnTo>
                <a:lnTo>
                  <a:pt x="6451" y="2244"/>
                </a:lnTo>
                <a:lnTo>
                  <a:pt x="6453" y="2287"/>
                </a:lnTo>
                <a:lnTo>
                  <a:pt x="6134" y="2287"/>
                </a:lnTo>
                <a:close/>
                <a:moveTo>
                  <a:pt x="6318" y="2194"/>
                </a:moveTo>
                <a:lnTo>
                  <a:pt x="6314" y="2175"/>
                </a:lnTo>
                <a:lnTo>
                  <a:pt x="6308" y="2159"/>
                </a:lnTo>
                <a:lnTo>
                  <a:pt x="6301" y="2146"/>
                </a:lnTo>
                <a:lnTo>
                  <a:pt x="6292" y="2133"/>
                </a:lnTo>
                <a:lnTo>
                  <a:pt x="6279" y="2126"/>
                </a:lnTo>
                <a:lnTo>
                  <a:pt x="6264" y="2118"/>
                </a:lnTo>
                <a:lnTo>
                  <a:pt x="6249" y="2114"/>
                </a:lnTo>
                <a:lnTo>
                  <a:pt x="6231" y="2113"/>
                </a:lnTo>
                <a:lnTo>
                  <a:pt x="6195" y="2118"/>
                </a:lnTo>
                <a:lnTo>
                  <a:pt x="6167" y="2133"/>
                </a:lnTo>
                <a:lnTo>
                  <a:pt x="6156" y="2146"/>
                </a:lnTo>
                <a:lnTo>
                  <a:pt x="6147" y="2159"/>
                </a:lnTo>
                <a:lnTo>
                  <a:pt x="6140" y="2175"/>
                </a:lnTo>
                <a:lnTo>
                  <a:pt x="6136" y="2194"/>
                </a:lnTo>
                <a:lnTo>
                  <a:pt x="6318" y="2194"/>
                </a:lnTo>
                <a:close/>
                <a:moveTo>
                  <a:pt x="6794" y="2159"/>
                </a:moveTo>
                <a:lnTo>
                  <a:pt x="6785" y="2137"/>
                </a:lnTo>
                <a:lnTo>
                  <a:pt x="6770" y="2122"/>
                </a:lnTo>
                <a:lnTo>
                  <a:pt x="6748" y="2111"/>
                </a:lnTo>
                <a:lnTo>
                  <a:pt x="6718" y="2109"/>
                </a:lnTo>
                <a:lnTo>
                  <a:pt x="6692" y="2111"/>
                </a:lnTo>
                <a:lnTo>
                  <a:pt x="6672" y="2118"/>
                </a:lnTo>
                <a:lnTo>
                  <a:pt x="6659" y="2129"/>
                </a:lnTo>
                <a:lnTo>
                  <a:pt x="6655" y="2137"/>
                </a:lnTo>
                <a:lnTo>
                  <a:pt x="6655" y="2146"/>
                </a:lnTo>
                <a:lnTo>
                  <a:pt x="6657" y="2157"/>
                </a:lnTo>
                <a:lnTo>
                  <a:pt x="6666" y="2164"/>
                </a:lnTo>
                <a:lnTo>
                  <a:pt x="6683" y="2172"/>
                </a:lnTo>
                <a:lnTo>
                  <a:pt x="6709" y="2179"/>
                </a:lnTo>
                <a:lnTo>
                  <a:pt x="6792" y="2198"/>
                </a:lnTo>
                <a:lnTo>
                  <a:pt x="6827" y="2205"/>
                </a:lnTo>
                <a:lnTo>
                  <a:pt x="6855" y="2216"/>
                </a:lnTo>
                <a:lnTo>
                  <a:pt x="6877" y="2227"/>
                </a:lnTo>
                <a:lnTo>
                  <a:pt x="6894" y="2240"/>
                </a:lnTo>
                <a:lnTo>
                  <a:pt x="6909" y="2259"/>
                </a:lnTo>
                <a:lnTo>
                  <a:pt x="6918" y="2279"/>
                </a:lnTo>
                <a:lnTo>
                  <a:pt x="6926" y="2303"/>
                </a:lnTo>
                <a:lnTo>
                  <a:pt x="6928" y="2331"/>
                </a:lnTo>
                <a:lnTo>
                  <a:pt x="6924" y="2364"/>
                </a:lnTo>
                <a:lnTo>
                  <a:pt x="6920" y="2379"/>
                </a:lnTo>
                <a:lnTo>
                  <a:pt x="6913" y="2394"/>
                </a:lnTo>
                <a:lnTo>
                  <a:pt x="6896" y="2422"/>
                </a:lnTo>
                <a:lnTo>
                  <a:pt x="6874" y="2442"/>
                </a:lnTo>
                <a:lnTo>
                  <a:pt x="6844" y="2460"/>
                </a:lnTo>
                <a:lnTo>
                  <a:pt x="6811" y="2473"/>
                </a:lnTo>
                <a:lnTo>
                  <a:pt x="6770" y="2481"/>
                </a:lnTo>
                <a:lnTo>
                  <a:pt x="6725" y="2484"/>
                </a:lnTo>
                <a:lnTo>
                  <a:pt x="6681" y="2481"/>
                </a:lnTo>
                <a:lnTo>
                  <a:pt x="6642" y="2473"/>
                </a:lnTo>
                <a:lnTo>
                  <a:pt x="6607" y="2460"/>
                </a:lnTo>
                <a:lnTo>
                  <a:pt x="6577" y="2442"/>
                </a:lnTo>
                <a:lnTo>
                  <a:pt x="6553" y="2420"/>
                </a:lnTo>
                <a:lnTo>
                  <a:pt x="6535" y="2394"/>
                </a:lnTo>
                <a:lnTo>
                  <a:pt x="6523" y="2362"/>
                </a:lnTo>
                <a:lnTo>
                  <a:pt x="6520" y="2346"/>
                </a:lnTo>
                <a:lnTo>
                  <a:pt x="6518" y="2327"/>
                </a:lnTo>
                <a:lnTo>
                  <a:pt x="6640" y="2327"/>
                </a:lnTo>
                <a:lnTo>
                  <a:pt x="6649" y="2355"/>
                </a:lnTo>
                <a:lnTo>
                  <a:pt x="6657" y="2366"/>
                </a:lnTo>
                <a:lnTo>
                  <a:pt x="6668" y="2373"/>
                </a:lnTo>
                <a:lnTo>
                  <a:pt x="6679" y="2381"/>
                </a:lnTo>
                <a:lnTo>
                  <a:pt x="6694" y="2385"/>
                </a:lnTo>
                <a:lnTo>
                  <a:pt x="6729" y="2388"/>
                </a:lnTo>
                <a:lnTo>
                  <a:pt x="6757" y="2386"/>
                </a:lnTo>
                <a:lnTo>
                  <a:pt x="6779" y="2377"/>
                </a:lnTo>
                <a:lnTo>
                  <a:pt x="6792" y="2364"/>
                </a:lnTo>
                <a:lnTo>
                  <a:pt x="6796" y="2355"/>
                </a:lnTo>
                <a:lnTo>
                  <a:pt x="6798" y="2346"/>
                </a:lnTo>
                <a:lnTo>
                  <a:pt x="6796" y="2338"/>
                </a:lnTo>
                <a:lnTo>
                  <a:pt x="6794" y="2331"/>
                </a:lnTo>
                <a:lnTo>
                  <a:pt x="6785" y="2320"/>
                </a:lnTo>
                <a:lnTo>
                  <a:pt x="6770" y="2311"/>
                </a:lnTo>
                <a:lnTo>
                  <a:pt x="6748" y="2305"/>
                </a:lnTo>
                <a:lnTo>
                  <a:pt x="6666" y="2287"/>
                </a:lnTo>
                <a:lnTo>
                  <a:pt x="6603" y="2266"/>
                </a:lnTo>
                <a:lnTo>
                  <a:pt x="6579" y="2255"/>
                </a:lnTo>
                <a:lnTo>
                  <a:pt x="6560" y="2240"/>
                </a:lnTo>
                <a:lnTo>
                  <a:pt x="6546" y="2224"/>
                </a:lnTo>
                <a:lnTo>
                  <a:pt x="6536" y="2205"/>
                </a:lnTo>
                <a:lnTo>
                  <a:pt x="6531" y="2183"/>
                </a:lnTo>
                <a:lnTo>
                  <a:pt x="6529" y="2157"/>
                </a:lnTo>
                <a:lnTo>
                  <a:pt x="6533" y="2126"/>
                </a:lnTo>
                <a:lnTo>
                  <a:pt x="6542" y="2096"/>
                </a:lnTo>
                <a:lnTo>
                  <a:pt x="6549" y="2085"/>
                </a:lnTo>
                <a:lnTo>
                  <a:pt x="6559" y="2072"/>
                </a:lnTo>
                <a:lnTo>
                  <a:pt x="6568" y="2061"/>
                </a:lnTo>
                <a:lnTo>
                  <a:pt x="6579" y="2052"/>
                </a:lnTo>
                <a:lnTo>
                  <a:pt x="6607" y="2035"/>
                </a:lnTo>
                <a:lnTo>
                  <a:pt x="6640" y="2022"/>
                </a:lnTo>
                <a:lnTo>
                  <a:pt x="6677" y="2015"/>
                </a:lnTo>
                <a:lnTo>
                  <a:pt x="6720" y="2013"/>
                </a:lnTo>
                <a:lnTo>
                  <a:pt x="6761" y="2015"/>
                </a:lnTo>
                <a:lnTo>
                  <a:pt x="6798" y="2022"/>
                </a:lnTo>
                <a:lnTo>
                  <a:pt x="6829" y="2035"/>
                </a:lnTo>
                <a:lnTo>
                  <a:pt x="6857" y="2050"/>
                </a:lnTo>
                <a:lnTo>
                  <a:pt x="6879" y="2072"/>
                </a:lnTo>
                <a:lnTo>
                  <a:pt x="6889" y="2083"/>
                </a:lnTo>
                <a:lnTo>
                  <a:pt x="6898" y="2096"/>
                </a:lnTo>
                <a:lnTo>
                  <a:pt x="6911" y="2126"/>
                </a:lnTo>
                <a:lnTo>
                  <a:pt x="6916" y="2159"/>
                </a:lnTo>
                <a:lnTo>
                  <a:pt x="6794" y="2159"/>
                </a:lnTo>
                <a:close/>
                <a:moveTo>
                  <a:pt x="7267" y="2159"/>
                </a:moveTo>
                <a:lnTo>
                  <a:pt x="7259" y="2137"/>
                </a:lnTo>
                <a:lnTo>
                  <a:pt x="7243" y="2122"/>
                </a:lnTo>
                <a:lnTo>
                  <a:pt x="7220" y="2111"/>
                </a:lnTo>
                <a:lnTo>
                  <a:pt x="7191" y="2109"/>
                </a:lnTo>
                <a:lnTo>
                  <a:pt x="7165" y="2111"/>
                </a:lnTo>
                <a:lnTo>
                  <a:pt x="7144" y="2118"/>
                </a:lnTo>
                <a:lnTo>
                  <a:pt x="7133" y="2129"/>
                </a:lnTo>
                <a:lnTo>
                  <a:pt x="7130" y="2137"/>
                </a:lnTo>
                <a:lnTo>
                  <a:pt x="7128" y="2146"/>
                </a:lnTo>
                <a:lnTo>
                  <a:pt x="7131" y="2157"/>
                </a:lnTo>
                <a:lnTo>
                  <a:pt x="7139" y="2164"/>
                </a:lnTo>
                <a:lnTo>
                  <a:pt x="7157" y="2172"/>
                </a:lnTo>
                <a:lnTo>
                  <a:pt x="7183" y="2179"/>
                </a:lnTo>
                <a:lnTo>
                  <a:pt x="7265" y="2198"/>
                </a:lnTo>
                <a:lnTo>
                  <a:pt x="7302" y="2205"/>
                </a:lnTo>
                <a:lnTo>
                  <a:pt x="7330" y="2216"/>
                </a:lnTo>
                <a:lnTo>
                  <a:pt x="7350" y="2227"/>
                </a:lnTo>
                <a:lnTo>
                  <a:pt x="7367" y="2240"/>
                </a:lnTo>
                <a:lnTo>
                  <a:pt x="7382" y="2259"/>
                </a:lnTo>
                <a:lnTo>
                  <a:pt x="7393" y="2279"/>
                </a:lnTo>
                <a:lnTo>
                  <a:pt x="7398" y="2303"/>
                </a:lnTo>
                <a:lnTo>
                  <a:pt x="7400" y="2331"/>
                </a:lnTo>
                <a:lnTo>
                  <a:pt x="7397" y="2364"/>
                </a:lnTo>
                <a:lnTo>
                  <a:pt x="7393" y="2379"/>
                </a:lnTo>
                <a:lnTo>
                  <a:pt x="7387" y="2394"/>
                </a:lnTo>
                <a:lnTo>
                  <a:pt x="7371" y="2422"/>
                </a:lnTo>
                <a:lnTo>
                  <a:pt x="7346" y="2442"/>
                </a:lnTo>
                <a:lnTo>
                  <a:pt x="7319" y="2460"/>
                </a:lnTo>
                <a:lnTo>
                  <a:pt x="7283" y="2473"/>
                </a:lnTo>
                <a:lnTo>
                  <a:pt x="7245" y="2481"/>
                </a:lnTo>
                <a:lnTo>
                  <a:pt x="7200" y="2484"/>
                </a:lnTo>
                <a:lnTo>
                  <a:pt x="7156" y="2481"/>
                </a:lnTo>
                <a:lnTo>
                  <a:pt x="7115" y="2473"/>
                </a:lnTo>
                <a:lnTo>
                  <a:pt x="7081" y="2460"/>
                </a:lnTo>
                <a:lnTo>
                  <a:pt x="7052" y="2442"/>
                </a:lnTo>
                <a:lnTo>
                  <a:pt x="7028" y="2420"/>
                </a:lnTo>
                <a:lnTo>
                  <a:pt x="7009" y="2394"/>
                </a:lnTo>
                <a:lnTo>
                  <a:pt x="6996" y="2362"/>
                </a:lnTo>
                <a:lnTo>
                  <a:pt x="6992" y="2346"/>
                </a:lnTo>
                <a:lnTo>
                  <a:pt x="6991" y="2327"/>
                </a:lnTo>
                <a:lnTo>
                  <a:pt x="7115" y="2327"/>
                </a:lnTo>
                <a:lnTo>
                  <a:pt x="7124" y="2355"/>
                </a:lnTo>
                <a:lnTo>
                  <a:pt x="7131" y="2366"/>
                </a:lnTo>
                <a:lnTo>
                  <a:pt x="7141" y="2373"/>
                </a:lnTo>
                <a:lnTo>
                  <a:pt x="7154" y="2381"/>
                </a:lnTo>
                <a:lnTo>
                  <a:pt x="7167" y="2385"/>
                </a:lnTo>
                <a:lnTo>
                  <a:pt x="7202" y="2388"/>
                </a:lnTo>
                <a:lnTo>
                  <a:pt x="7230" y="2386"/>
                </a:lnTo>
                <a:lnTo>
                  <a:pt x="7252" y="2377"/>
                </a:lnTo>
                <a:lnTo>
                  <a:pt x="7267" y="2364"/>
                </a:lnTo>
                <a:lnTo>
                  <a:pt x="7270" y="2355"/>
                </a:lnTo>
                <a:lnTo>
                  <a:pt x="7270" y="2346"/>
                </a:lnTo>
                <a:lnTo>
                  <a:pt x="7270" y="2338"/>
                </a:lnTo>
                <a:lnTo>
                  <a:pt x="7269" y="2331"/>
                </a:lnTo>
                <a:lnTo>
                  <a:pt x="7259" y="2320"/>
                </a:lnTo>
                <a:lnTo>
                  <a:pt x="7243" y="2311"/>
                </a:lnTo>
                <a:lnTo>
                  <a:pt x="7220" y="2305"/>
                </a:lnTo>
                <a:lnTo>
                  <a:pt x="7139" y="2287"/>
                </a:lnTo>
                <a:lnTo>
                  <a:pt x="7076" y="2266"/>
                </a:lnTo>
                <a:lnTo>
                  <a:pt x="7054" y="2255"/>
                </a:lnTo>
                <a:lnTo>
                  <a:pt x="7033" y="2240"/>
                </a:lnTo>
                <a:lnTo>
                  <a:pt x="7020" y="2224"/>
                </a:lnTo>
                <a:lnTo>
                  <a:pt x="7011" y="2205"/>
                </a:lnTo>
                <a:lnTo>
                  <a:pt x="7005" y="2183"/>
                </a:lnTo>
                <a:lnTo>
                  <a:pt x="7004" y="2157"/>
                </a:lnTo>
                <a:lnTo>
                  <a:pt x="7005" y="2126"/>
                </a:lnTo>
                <a:lnTo>
                  <a:pt x="7016" y="2096"/>
                </a:lnTo>
                <a:lnTo>
                  <a:pt x="7022" y="2085"/>
                </a:lnTo>
                <a:lnTo>
                  <a:pt x="7031" y="2072"/>
                </a:lnTo>
                <a:lnTo>
                  <a:pt x="7042" y="2061"/>
                </a:lnTo>
                <a:lnTo>
                  <a:pt x="7054" y="2052"/>
                </a:lnTo>
                <a:lnTo>
                  <a:pt x="7081" y="2035"/>
                </a:lnTo>
                <a:lnTo>
                  <a:pt x="7113" y="2022"/>
                </a:lnTo>
                <a:lnTo>
                  <a:pt x="7152" y="2015"/>
                </a:lnTo>
                <a:lnTo>
                  <a:pt x="7194" y="2013"/>
                </a:lnTo>
                <a:lnTo>
                  <a:pt x="7235" y="2015"/>
                </a:lnTo>
                <a:lnTo>
                  <a:pt x="7270" y="2022"/>
                </a:lnTo>
                <a:lnTo>
                  <a:pt x="7304" y="2035"/>
                </a:lnTo>
                <a:lnTo>
                  <a:pt x="7332" y="2050"/>
                </a:lnTo>
                <a:lnTo>
                  <a:pt x="7354" y="2072"/>
                </a:lnTo>
                <a:lnTo>
                  <a:pt x="7363" y="2083"/>
                </a:lnTo>
                <a:lnTo>
                  <a:pt x="7371" y="2096"/>
                </a:lnTo>
                <a:lnTo>
                  <a:pt x="7384" y="2126"/>
                </a:lnTo>
                <a:lnTo>
                  <a:pt x="7391" y="2159"/>
                </a:lnTo>
                <a:lnTo>
                  <a:pt x="7267" y="2159"/>
                </a:lnTo>
                <a:close/>
                <a:moveTo>
                  <a:pt x="7623" y="1963"/>
                </a:moveTo>
                <a:lnTo>
                  <a:pt x="7489" y="1963"/>
                </a:lnTo>
                <a:lnTo>
                  <a:pt x="7489" y="1854"/>
                </a:lnTo>
                <a:lnTo>
                  <a:pt x="7623" y="1854"/>
                </a:lnTo>
                <a:lnTo>
                  <a:pt x="7623" y="1963"/>
                </a:lnTo>
                <a:close/>
                <a:moveTo>
                  <a:pt x="7623" y="2472"/>
                </a:moveTo>
                <a:lnTo>
                  <a:pt x="7489" y="2472"/>
                </a:lnTo>
                <a:lnTo>
                  <a:pt x="7489" y="2026"/>
                </a:lnTo>
                <a:lnTo>
                  <a:pt x="7623" y="2026"/>
                </a:lnTo>
                <a:lnTo>
                  <a:pt x="7623" y="2472"/>
                </a:lnTo>
                <a:close/>
                <a:moveTo>
                  <a:pt x="8192" y="2251"/>
                </a:moveTo>
                <a:lnTo>
                  <a:pt x="8188" y="2301"/>
                </a:lnTo>
                <a:lnTo>
                  <a:pt x="8173" y="2346"/>
                </a:lnTo>
                <a:lnTo>
                  <a:pt x="8153" y="2385"/>
                </a:lnTo>
                <a:lnTo>
                  <a:pt x="8140" y="2403"/>
                </a:lnTo>
                <a:lnTo>
                  <a:pt x="8125" y="2418"/>
                </a:lnTo>
                <a:lnTo>
                  <a:pt x="8108" y="2433"/>
                </a:lnTo>
                <a:lnTo>
                  <a:pt x="8090" y="2446"/>
                </a:lnTo>
                <a:lnTo>
                  <a:pt x="8049" y="2468"/>
                </a:lnTo>
                <a:lnTo>
                  <a:pt x="8003" y="2479"/>
                </a:lnTo>
                <a:lnTo>
                  <a:pt x="7979" y="2483"/>
                </a:lnTo>
                <a:lnTo>
                  <a:pt x="7953" y="2484"/>
                </a:lnTo>
                <a:lnTo>
                  <a:pt x="7903" y="2479"/>
                </a:lnTo>
                <a:lnTo>
                  <a:pt x="7858" y="2466"/>
                </a:lnTo>
                <a:lnTo>
                  <a:pt x="7817" y="2446"/>
                </a:lnTo>
                <a:lnTo>
                  <a:pt x="7799" y="2433"/>
                </a:lnTo>
                <a:lnTo>
                  <a:pt x="7782" y="2418"/>
                </a:lnTo>
                <a:lnTo>
                  <a:pt x="7767" y="2401"/>
                </a:lnTo>
                <a:lnTo>
                  <a:pt x="7754" y="2385"/>
                </a:lnTo>
                <a:lnTo>
                  <a:pt x="7734" y="2344"/>
                </a:lnTo>
                <a:lnTo>
                  <a:pt x="7721" y="2298"/>
                </a:lnTo>
                <a:lnTo>
                  <a:pt x="7717" y="2274"/>
                </a:lnTo>
                <a:lnTo>
                  <a:pt x="7715" y="2248"/>
                </a:lnTo>
                <a:lnTo>
                  <a:pt x="7721" y="2198"/>
                </a:lnTo>
                <a:lnTo>
                  <a:pt x="7734" y="2153"/>
                </a:lnTo>
                <a:lnTo>
                  <a:pt x="7754" y="2113"/>
                </a:lnTo>
                <a:lnTo>
                  <a:pt x="7767" y="2096"/>
                </a:lnTo>
                <a:lnTo>
                  <a:pt x="7782" y="2079"/>
                </a:lnTo>
                <a:lnTo>
                  <a:pt x="7799" y="2064"/>
                </a:lnTo>
                <a:lnTo>
                  <a:pt x="7817" y="2052"/>
                </a:lnTo>
                <a:lnTo>
                  <a:pt x="7858" y="2029"/>
                </a:lnTo>
                <a:lnTo>
                  <a:pt x="7903" y="2016"/>
                </a:lnTo>
                <a:lnTo>
                  <a:pt x="7929" y="2015"/>
                </a:lnTo>
                <a:lnTo>
                  <a:pt x="7953" y="2013"/>
                </a:lnTo>
                <a:lnTo>
                  <a:pt x="8005" y="2016"/>
                </a:lnTo>
                <a:lnTo>
                  <a:pt x="8051" y="2029"/>
                </a:lnTo>
                <a:lnTo>
                  <a:pt x="8092" y="2052"/>
                </a:lnTo>
                <a:lnTo>
                  <a:pt x="8108" y="2064"/>
                </a:lnTo>
                <a:lnTo>
                  <a:pt x="8125" y="2079"/>
                </a:lnTo>
                <a:lnTo>
                  <a:pt x="8140" y="2096"/>
                </a:lnTo>
                <a:lnTo>
                  <a:pt x="8153" y="2113"/>
                </a:lnTo>
                <a:lnTo>
                  <a:pt x="8175" y="2155"/>
                </a:lnTo>
                <a:lnTo>
                  <a:pt x="8188" y="2201"/>
                </a:lnTo>
                <a:lnTo>
                  <a:pt x="8190" y="2225"/>
                </a:lnTo>
                <a:lnTo>
                  <a:pt x="8192" y="2251"/>
                </a:lnTo>
                <a:close/>
                <a:moveTo>
                  <a:pt x="7849" y="2248"/>
                </a:moveTo>
                <a:lnTo>
                  <a:pt x="7851" y="2277"/>
                </a:lnTo>
                <a:lnTo>
                  <a:pt x="7856" y="2305"/>
                </a:lnTo>
                <a:lnTo>
                  <a:pt x="7864" y="2327"/>
                </a:lnTo>
                <a:lnTo>
                  <a:pt x="7877" y="2346"/>
                </a:lnTo>
                <a:lnTo>
                  <a:pt x="7891" y="2361"/>
                </a:lnTo>
                <a:lnTo>
                  <a:pt x="7910" y="2372"/>
                </a:lnTo>
                <a:lnTo>
                  <a:pt x="7930" y="2377"/>
                </a:lnTo>
                <a:lnTo>
                  <a:pt x="7955" y="2379"/>
                </a:lnTo>
                <a:lnTo>
                  <a:pt x="7977" y="2377"/>
                </a:lnTo>
                <a:lnTo>
                  <a:pt x="7999" y="2372"/>
                </a:lnTo>
                <a:lnTo>
                  <a:pt x="8016" y="2361"/>
                </a:lnTo>
                <a:lnTo>
                  <a:pt x="8031" y="2346"/>
                </a:lnTo>
                <a:lnTo>
                  <a:pt x="8038" y="2336"/>
                </a:lnTo>
                <a:lnTo>
                  <a:pt x="8043" y="2327"/>
                </a:lnTo>
                <a:lnTo>
                  <a:pt x="8053" y="2305"/>
                </a:lnTo>
                <a:lnTo>
                  <a:pt x="8056" y="2279"/>
                </a:lnTo>
                <a:lnTo>
                  <a:pt x="8058" y="2251"/>
                </a:lnTo>
                <a:lnTo>
                  <a:pt x="8056" y="2220"/>
                </a:lnTo>
                <a:lnTo>
                  <a:pt x="8053" y="2194"/>
                </a:lnTo>
                <a:lnTo>
                  <a:pt x="8043" y="2170"/>
                </a:lnTo>
                <a:lnTo>
                  <a:pt x="8032" y="2151"/>
                </a:lnTo>
                <a:lnTo>
                  <a:pt x="8018" y="2137"/>
                </a:lnTo>
                <a:lnTo>
                  <a:pt x="7999" y="2126"/>
                </a:lnTo>
                <a:lnTo>
                  <a:pt x="7977" y="2120"/>
                </a:lnTo>
                <a:lnTo>
                  <a:pt x="7953" y="2118"/>
                </a:lnTo>
                <a:lnTo>
                  <a:pt x="7930" y="2120"/>
                </a:lnTo>
                <a:lnTo>
                  <a:pt x="7908" y="2126"/>
                </a:lnTo>
                <a:lnTo>
                  <a:pt x="7891" y="2137"/>
                </a:lnTo>
                <a:lnTo>
                  <a:pt x="7877" y="2151"/>
                </a:lnTo>
                <a:lnTo>
                  <a:pt x="7869" y="2161"/>
                </a:lnTo>
                <a:lnTo>
                  <a:pt x="7864" y="2170"/>
                </a:lnTo>
                <a:lnTo>
                  <a:pt x="7856" y="2192"/>
                </a:lnTo>
                <a:lnTo>
                  <a:pt x="7851" y="2218"/>
                </a:lnTo>
                <a:lnTo>
                  <a:pt x="7849" y="2248"/>
                </a:lnTo>
                <a:close/>
                <a:moveTo>
                  <a:pt x="8414" y="2026"/>
                </a:moveTo>
                <a:lnTo>
                  <a:pt x="8414" y="2068"/>
                </a:lnTo>
                <a:lnTo>
                  <a:pt x="8448" y="2040"/>
                </a:lnTo>
                <a:lnTo>
                  <a:pt x="8475" y="2024"/>
                </a:lnTo>
                <a:lnTo>
                  <a:pt x="8505" y="2015"/>
                </a:lnTo>
                <a:lnTo>
                  <a:pt x="8537" y="2013"/>
                </a:lnTo>
                <a:lnTo>
                  <a:pt x="8572" y="2015"/>
                </a:lnTo>
                <a:lnTo>
                  <a:pt x="8601" y="2024"/>
                </a:lnTo>
                <a:lnTo>
                  <a:pt x="8629" y="2039"/>
                </a:lnTo>
                <a:lnTo>
                  <a:pt x="8652" y="2057"/>
                </a:lnTo>
                <a:lnTo>
                  <a:pt x="8670" y="2081"/>
                </a:lnTo>
                <a:lnTo>
                  <a:pt x="8683" y="2111"/>
                </a:lnTo>
                <a:lnTo>
                  <a:pt x="8690" y="2144"/>
                </a:lnTo>
                <a:lnTo>
                  <a:pt x="8692" y="2183"/>
                </a:lnTo>
                <a:lnTo>
                  <a:pt x="8692" y="2472"/>
                </a:lnTo>
                <a:lnTo>
                  <a:pt x="8561" y="2472"/>
                </a:lnTo>
                <a:lnTo>
                  <a:pt x="8561" y="2229"/>
                </a:lnTo>
                <a:lnTo>
                  <a:pt x="8561" y="2200"/>
                </a:lnTo>
                <a:lnTo>
                  <a:pt x="8559" y="2177"/>
                </a:lnTo>
                <a:lnTo>
                  <a:pt x="8555" y="2163"/>
                </a:lnTo>
                <a:lnTo>
                  <a:pt x="8548" y="2150"/>
                </a:lnTo>
                <a:lnTo>
                  <a:pt x="8538" y="2138"/>
                </a:lnTo>
                <a:lnTo>
                  <a:pt x="8525" y="2129"/>
                </a:lnTo>
                <a:lnTo>
                  <a:pt x="8511" y="2126"/>
                </a:lnTo>
                <a:lnTo>
                  <a:pt x="8494" y="2124"/>
                </a:lnTo>
                <a:lnTo>
                  <a:pt x="8462" y="2129"/>
                </a:lnTo>
                <a:lnTo>
                  <a:pt x="8449" y="2137"/>
                </a:lnTo>
                <a:lnTo>
                  <a:pt x="8436" y="2148"/>
                </a:lnTo>
                <a:lnTo>
                  <a:pt x="8427" y="2161"/>
                </a:lnTo>
                <a:lnTo>
                  <a:pt x="8422" y="2175"/>
                </a:lnTo>
                <a:lnTo>
                  <a:pt x="8418" y="2196"/>
                </a:lnTo>
                <a:lnTo>
                  <a:pt x="8418" y="2222"/>
                </a:lnTo>
                <a:lnTo>
                  <a:pt x="8418" y="2472"/>
                </a:lnTo>
                <a:lnTo>
                  <a:pt x="8286" y="2472"/>
                </a:lnTo>
                <a:lnTo>
                  <a:pt x="8286" y="2026"/>
                </a:lnTo>
                <a:lnTo>
                  <a:pt x="8414" y="2026"/>
                </a:lnTo>
                <a:close/>
                <a:moveTo>
                  <a:pt x="8811" y="2166"/>
                </a:moveTo>
                <a:lnTo>
                  <a:pt x="8817" y="2129"/>
                </a:lnTo>
                <a:lnTo>
                  <a:pt x="8820" y="2113"/>
                </a:lnTo>
                <a:lnTo>
                  <a:pt x="8828" y="2098"/>
                </a:lnTo>
                <a:lnTo>
                  <a:pt x="8835" y="2085"/>
                </a:lnTo>
                <a:lnTo>
                  <a:pt x="8844" y="2072"/>
                </a:lnTo>
                <a:lnTo>
                  <a:pt x="8865" y="2052"/>
                </a:lnTo>
                <a:lnTo>
                  <a:pt x="8893" y="2035"/>
                </a:lnTo>
                <a:lnTo>
                  <a:pt x="8909" y="2027"/>
                </a:lnTo>
                <a:lnTo>
                  <a:pt x="8926" y="2022"/>
                </a:lnTo>
                <a:lnTo>
                  <a:pt x="8965" y="2015"/>
                </a:lnTo>
                <a:lnTo>
                  <a:pt x="9009" y="2013"/>
                </a:lnTo>
                <a:lnTo>
                  <a:pt x="9057" y="2016"/>
                </a:lnTo>
                <a:lnTo>
                  <a:pt x="9098" y="2024"/>
                </a:lnTo>
                <a:lnTo>
                  <a:pt x="9133" y="2039"/>
                </a:lnTo>
                <a:lnTo>
                  <a:pt x="9163" y="2059"/>
                </a:lnTo>
                <a:lnTo>
                  <a:pt x="9185" y="2083"/>
                </a:lnTo>
                <a:lnTo>
                  <a:pt x="9193" y="2096"/>
                </a:lnTo>
                <a:lnTo>
                  <a:pt x="9198" y="2111"/>
                </a:lnTo>
                <a:lnTo>
                  <a:pt x="9206" y="2146"/>
                </a:lnTo>
                <a:lnTo>
                  <a:pt x="9208" y="2190"/>
                </a:lnTo>
                <a:lnTo>
                  <a:pt x="9208" y="2396"/>
                </a:lnTo>
                <a:lnTo>
                  <a:pt x="9210" y="2425"/>
                </a:lnTo>
                <a:lnTo>
                  <a:pt x="9211" y="2444"/>
                </a:lnTo>
                <a:lnTo>
                  <a:pt x="9217" y="2457"/>
                </a:lnTo>
                <a:lnTo>
                  <a:pt x="9224" y="2472"/>
                </a:lnTo>
                <a:lnTo>
                  <a:pt x="9091" y="2472"/>
                </a:lnTo>
                <a:lnTo>
                  <a:pt x="9080" y="2436"/>
                </a:lnTo>
                <a:lnTo>
                  <a:pt x="9050" y="2460"/>
                </a:lnTo>
                <a:lnTo>
                  <a:pt x="9020" y="2473"/>
                </a:lnTo>
                <a:lnTo>
                  <a:pt x="8989" y="2483"/>
                </a:lnTo>
                <a:lnTo>
                  <a:pt x="8952" y="2484"/>
                </a:lnTo>
                <a:lnTo>
                  <a:pt x="8917" y="2481"/>
                </a:lnTo>
                <a:lnTo>
                  <a:pt x="8885" y="2473"/>
                </a:lnTo>
                <a:lnTo>
                  <a:pt x="8855" y="2462"/>
                </a:lnTo>
                <a:lnTo>
                  <a:pt x="8833" y="2446"/>
                </a:lnTo>
                <a:lnTo>
                  <a:pt x="8813" y="2425"/>
                </a:lnTo>
                <a:lnTo>
                  <a:pt x="8800" y="2401"/>
                </a:lnTo>
                <a:lnTo>
                  <a:pt x="8791" y="2375"/>
                </a:lnTo>
                <a:lnTo>
                  <a:pt x="8787" y="2344"/>
                </a:lnTo>
                <a:lnTo>
                  <a:pt x="8789" y="2314"/>
                </a:lnTo>
                <a:lnTo>
                  <a:pt x="8798" y="2288"/>
                </a:lnTo>
                <a:lnTo>
                  <a:pt x="8811" y="2266"/>
                </a:lnTo>
                <a:lnTo>
                  <a:pt x="8829" y="2246"/>
                </a:lnTo>
                <a:lnTo>
                  <a:pt x="8854" y="2229"/>
                </a:lnTo>
                <a:lnTo>
                  <a:pt x="8885" y="2216"/>
                </a:lnTo>
                <a:lnTo>
                  <a:pt x="8922" y="2205"/>
                </a:lnTo>
                <a:lnTo>
                  <a:pt x="8965" y="2196"/>
                </a:lnTo>
                <a:lnTo>
                  <a:pt x="9037" y="2185"/>
                </a:lnTo>
                <a:lnTo>
                  <a:pt x="9056" y="2179"/>
                </a:lnTo>
                <a:lnTo>
                  <a:pt x="9069" y="2174"/>
                </a:lnTo>
                <a:lnTo>
                  <a:pt x="9074" y="2166"/>
                </a:lnTo>
                <a:lnTo>
                  <a:pt x="9076" y="2153"/>
                </a:lnTo>
                <a:lnTo>
                  <a:pt x="9072" y="2137"/>
                </a:lnTo>
                <a:lnTo>
                  <a:pt x="9057" y="2124"/>
                </a:lnTo>
                <a:lnTo>
                  <a:pt x="9037" y="2116"/>
                </a:lnTo>
                <a:lnTo>
                  <a:pt x="9007" y="2113"/>
                </a:lnTo>
                <a:lnTo>
                  <a:pt x="8976" y="2116"/>
                </a:lnTo>
                <a:lnTo>
                  <a:pt x="8952" y="2126"/>
                </a:lnTo>
                <a:lnTo>
                  <a:pt x="8943" y="2133"/>
                </a:lnTo>
                <a:lnTo>
                  <a:pt x="8937" y="2142"/>
                </a:lnTo>
                <a:lnTo>
                  <a:pt x="8931" y="2153"/>
                </a:lnTo>
                <a:lnTo>
                  <a:pt x="8928" y="2166"/>
                </a:lnTo>
                <a:lnTo>
                  <a:pt x="8811" y="2166"/>
                </a:lnTo>
                <a:close/>
                <a:moveTo>
                  <a:pt x="9080" y="2259"/>
                </a:moveTo>
                <a:lnTo>
                  <a:pt x="9032" y="2274"/>
                </a:lnTo>
                <a:lnTo>
                  <a:pt x="8985" y="2283"/>
                </a:lnTo>
                <a:lnTo>
                  <a:pt x="8954" y="2292"/>
                </a:lnTo>
                <a:lnTo>
                  <a:pt x="8933" y="2305"/>
                </a:lnTo>
                <a:lnTo>
                  <a:pt x="8920" y="2318"/>
                </a:lnTo>
                <a:lnTo>
                  <a:pt x="8917" y="2336"/>
                </a:lnTo>
                <a:lnTo>
                  <a:pt x="8922" y="2357"/>
                </a:lnTo>
                <a:lnTo>
                  <a:pt x="8935" y="2372"/>
                </a:lnTo>
                <a:lnTo>
                  <a:pt x="8956" y="2381"/>
                </a:lnTo>
                <a:lnTo>
                  <a:pt x="8983" y="2385"/>
                </a:lnTo>
                <a:lnTo>
                  <a:pt x="9015" y="2381"/>
                </a:lnTo>
                <a:lnTo>
                  <a:pt x="9028" y="2377"/>
                </a:lnTo>
                <a:lnTo>
                  <a:pt x="9041" y="2370"/>
                </a:lnTo>
                <a:lnTo>
                  <a:pt x="9063" y="2353"/>
                </a:lnTo>
                <a:lnTo>
                  <a:pt x="9080" y="2327"/>
                </a:lnTo>
                <a:lnTo>
                  <a:pt x="9080" y="2259"/>
                </a:lnTo>
                <a:close/>
                <a:moveTo>
                  <a:pt x="9458" y="2472"/>
                </a:moveTo>
                <a:lnTo>
                  <a:pt x="9326" y="2472"/>
                </a:lnTo>
                <a:lnTo>
                  <a:pt x="9326" y="1854"/>
                </a:lnTo>
                <a:lnTo>
                  <a:pt x="9458" y="1854"/>
                </a:lnTo>
                <a:lnTo>
                  <a:pt x="9458" y="2472"/>
                </a:lnTo>
                <a:close/>
                <a:moveTo>
                  <a:pt x="9860" y="1854"/>
                </a:moveTo>
                <a:lnTo>
                  <a:pt x="10070" y="1854"/>
                </a:lnTo>
                <a:lnTo>
                  <a:pt x="10153" y="1859"/>
                </a:lnTo>
                <a:lnTo>
                  <a:pt x="10188" y="1865"/>
                </a:lnTo>
                <a:lnTo>
                  <a:pt x="10218" y="1874"/>
                </a:lnTo>
                <a:lnTo>
                  <a:pt x="10246" y="1885"/>
                </a:lnTo>
                <a:lnTo>
                  <a:pt x="10272" y="1900"/>
                </a:lnTo>
                <a:lnTo>
                  <a:pt x="10294" y="1918"/>
                </a:lnTo>
                <a:lnTo>
                  <a:pt x="10316" y="1939"/>
                </a:lnTo>
                <a:lnTo>
                  <a:pt x="10333" y="1961"/>
                </a:lnTo>
                <a:lnTo>
                  <a:pt x="10348" y="1985"/>
                </a:lnTo>
                <a:lnTo>
                  <a:pt x="10372" y="2039"/>
                </a:lnTo>
                <a:lnTo>
                  <a:pt x="10387" y="2096"/>
                </a:lnTo>
                <a:lnTo>
                  <a:pt x="10390" y="2127"/>
                </a:lnTo>
                <a:lnTo>
                  <a:pt x="10392" y="2161"/>
                </a:lnTo>
                <a:lnTo>
                  <a:pt x="10387" y="2227"/>
                </a:lnTo>
                <a:lnTo>
                  <a:pt x="10379" y="2259"/>
                </a:lnTo>
                <a:lnTo>
                  <a:pt x="10370" y="2288"/>
                </a:lnTo>
                <a:lnTo>
                  <a:pt x="10359" y="2318"/>
                </a:lnTo>
                <a:lnTo>
                  <a:pt x="10346" y="2344"/>
                </a:lnTo>
                <a:lnTo>
                  <a:pt x="10329" y="2368"/>
                </a:lnTo>
                <a:lnTo>
                  <a:pt x="10311" y="2390"/>
                </a:lnTo>
                <a:lnTo>
                  <a:pt x="10290" y="2410"/>
                </a:lnTo>
                <a:lnTo>
                  <a:pt x="10268" y="2427"/>
                </a:lnTo>
                <a:lnTo>
                  <a:pt x="10242" y="2442"/>
                </a:lnTo>
                <a:lnTo>
                  <a:pt x="10216" y="2453"/>
                </a:lnTo>
                <a:lnTo>
                  <a:pt x="10185" y="2462"/>
                </a:lnTo>
                <a:lnTo>
                  <a:pt x="10151" y="2468"/>
                </a:lnTo>
                <a:lnTo>
                  <a:pt x="10114" y="2472"/>
                </a:lnTo>
                <a:lnTo>
                  <a:pt x="10073" y="2472"/>
                </a:lnTo>
                <a:lnTo>
                  <a:pt x="9860" y="2472"/>
                </a:lnTo>
                <a:lnTo>
                  <a:pt x="9860" y="1854"/>
                </a:lnTo>
                <a:close/>
                <a:moveTo>
                  <a:pt x="10092" y="2353"/>
                </a:moveTo>
                <a:lnTo>
                  <a:pt x="10135" y="2349"/>
                </a:lnTo>
                <a:lnTo>
                  <a:pt x="10153" y="2346"/>
                </a:lnTo>
                <a:lnTo>
                  <a:pt x="10170" y="2340"/>
                </a:lnTo>
                <a:lnTo>
                  <a:pt x="10198" y="2322"/>
                </a:lnTo>
                <a:lnTo>
                  <a:pt x="10220" y="2294"/>
                </a:lnTo>
                <a:lnTo>
                  <a:pt x="10233" y="2266"/>
                </a:lnTo>
                <a:lnTo>
                  <a:pt x="10242" y="2235"/>
                </a:lnTo>
                <a:lnTo>
                  <a:pt x="10248" y="2201"/>
                </a:lnTo>
                <a:lnTo>
                  <a:pt x="10249" y="2163"/>
                </a:lnTo>
                <a:lnTo>
                  <a:pt x="10248" y="2126"/>
                </a:lnTo>
                <a:lnTo>
                  <a:pt x="10242" y="2092"/>
                </a:lnTo>
                <a:lnTo>
                  <a:pt x="10233" y="2063"/>
                </a:lnTo>
                <a:lnTo>
                  <a:pt x="10220" y="2035"/>
                </a:lnTo>
                <a:lnTo>
                  <a:pt x="10211" y="2020"/>
                </a:lnTo>
                <a:lnTo>
                  <a:pt x="10199" y="2007"/>
                </a:lnTo>
                <a:lnTo>
                  <a:pt x="10186" y="1996"/>
                </a:lnTo>
                <a:lnTo>
                  <a:pt x="10173" y="1989"/>
                </a:lnTo>
                <a:lnTo>
                  <a:pt x="10159" y="1981"/>
                </a:lnTo>
                <a:lnTo>
                  <a:pt x="10140" y="1978"/>
                </a:lnTo>
                <a:lnTo>
                  <a:pt x="10101" y="1974"/>
                </a:lnTo>
                <a:lnTo>
                  <a:pt x="9999" y="1974"/>
                </a:lnTo>
                <a:lnTo>
                  <a:pt x="9999" y="2353"/>
                </a:lnTo>
                <a:lnTo>
                  <a:pt x="10092" y="2353"/>
                </a:lnTo>
                <a:close/>
                <a:moveTo>
                  <a:pt x="10604" y="2287"/>
                </a:moveTo>
                <a:lnTo>
                  <a:pt x="10607" y="2309"/>
                </a:lnTo>
                <a:lnTo>
                  <a:pt x="10615" y="2327"/>
                </a:lnTo>
                <a:lnTo>
                  <a:pt x="10635" y="2357"/>
                </a:lnTo>
                <a:lnTo>
                  <a:pt x="10650" y="2368"/>
                </a:lnTo>
                <a:lnTo>
                  <a:pt x="10665" y="2375"/>
                </a:lnTo>
                <a:lnTo>
                  <a:pt x="10683" y="2379"/>
                </a:lnTo>
                <a:lnTo>
                  <a:pt x="10704" y="2381"/>
                </a:lnTo>
                <a:lnTo>
                  <a:pt x="10730" y="2379"/>
                </a:lnTo>
                <a:lnTo>
                  <a:pt x="10750" y="2372"/>
                </a:lnTo>
                <a:lnTo>
                  <a:pt x="10767" y="2359"/>
                </a:lnTo>
                <a:lnTo>
                  <a:pt x="10781" y="2342"/>
                </a:lnTo>
                <a:lnTo>
                  <a:pt x="10915" y="2342"/>
                </a:lnTo>
                <a:lnTo>
                  <a:pt x="10904" y="2373"/>
                </a:lnTo>
                <a:lnTo>
                  <a:pt x="10887" y="2401"/>
                </a:lnTo>
                <a:lnTo>
                  <a:pt x="10865" y="2425"/>
                </a:lnTo>
                <a:lnTo>
                  <a:pt x="10839" y="2446"/>
                </a:lnTo>
                <a:lnTo>
                  <a:pt x="10809" y="2462"/>
                </a:lnTo>
                <a:lnTo>
                  <a:pt x="10776" y="2473"/>
                </a:lnTo>
                <a:lnTo>
                  <a:pt x="10739" y="2483"/>
                </a:lnTo>
                <a:lnTo>
                  <a:pt x="10700" y="2484"/>
                </a:lnTo>
                <a:lnTo>
                  <a:pt x="10652" y="2481"/>
                </a:lnTo>
                <a:lnTo>
                  <a:pt x="10605" y="2468"/>
                </a:lnTo>
                <a:lnTo>
                  <a:pt x="10566" y="2447"/>
                </a:lnTo>
                <a:lnTo>
                  <a:pt x="10550" y="2435"/>
                </a:lnTo>
                <a:lnTo>
                  <a:pt x="10533" y="2420"/>
                </a:lnTo>
                <a:lnTo>
                  <a:pt x="10507" y="2385"/>
                </a:lnTo>
                <a:lnTo>
                  <a:pt x="10487" y="2346"/>
                </a:lnTo>
                <a:lnTo>
                  <a:pt x="10474" y="2299"/>
                </a:lnTo>
                <a:lnTo>
                  <a:pt x="10472" y="2275"/>
                </a:lnTo>
                <a:lnTo>
                  <a:pt x="10470" y="2249"/>
                </a:lnTo>
                <a:lnTo>
                  <a:pt x="10474" y="2200"/>
                </a:lnTo>
                <a:lnTo>
                  <a:pt x="10487" y="2153"/>
                </a:lnTo>
                <a:lnTo>
                  <a:pt x="10507" y="2113"/>
                </a:lnTo>
                <a:lnTo>
                  <a:pt x="10520" y="2094"/>
                </a:lnTo>
                <a:lnTo>
                  <a:pt x="10535" y="2079"/>
                </a:lnTo>
                <a:lnTo>
                  <a:pt x="10550" y="2064"/>
                </a:lnTo>
                <a:lnTo>
                  <a:pt x="10568" y="2052"/>
                </a:lnTo>
                <a:lnTo>
                  <a:pt x="10607" y="2029"/>
                </a:lnTo>
                <a:lnTo>
                  <a:pt x="10650" y="2016"/>
                </a:lnTo>
                <a:lnTo>
                  <a:pt x="10674" y="2015"/>
                </a:lnTo>
                <a:lnTo>
                  <a:pt x="10700" y="2013"/>
                </a:lnTo>
                <a:lnTo>
                  <a:pt x="10733" y="2015"/>
                </a:lnTo>
                <a:lnTo>
                  <a:pt x="10767" y="2022"/>
                </a:lnTo>
                <a:lnTo>
                  <a:pt x="10796" y="2033"/>
                </a:lnTo>
                <a:lnTo>
                  <a:pt x="10822" y="2048"/>
                </a:lnTo>
                <a:lnTo>
                  <a:pt x="10846" y="2066"/>
                </a:lnTo>
                <a:lnTo>
                  <a:pt x="10867" y="2089"/>
                </a:lnTo>
                <a:lnTo>
                  <a:pt x="10885" y="2114"/>
                </a:lnTo>
                <a:lnTo>
                  <a:pt x="10898" y="2144"/>
                </a:lnTo>
                <a:lnTo>
                  <a:pt x="10909" y="2174"/>
                </a:lnTo>
                <a:lnTo>
                  <a:pt x="10917" y="2207"/>
                </a:lnTo>
                <a:lnTo>
                  <a:pt x="10921" y="2244"/>
                </a:lnTo>
                <a:lnTo>
                  <a:pt x="10921" y="2287"/>
                </a:lnTo>
                <a:lnTo>
                  <a:pt x="10604" y="2287"/>
                </a:lnTo>
                <a:close/>
                <a:moveTo>
                  <a:pt x="10785" y="2194"/>
                </a:moveTo>
                <a:lnTo>
                  <a:pt x="10783" y="2175"/>
                </a:lnTo>
                <a:lnTo>
                  <a:pt x="10778" y="2159"/>
                </a:lnTo>
                <a:lnTo>
                  <a:pt x="10769" y="2146"/>
                </a:lnTo>
                <a:lnTo>
                  <a:pt x="10759" y="2133"/>
                </a:lnTo>
                <a:lnTo>
                  <a:pt x="10746" y="2126"/>
                </a:lnTo>
                <a:lnTo>
                  <a:pt x="10733" y="2118"/>
                </a:lnTo>
                <a:lnTo>
                  <a:pt x="10717" y="2114"/>
                </a:lnTo>
                <a:lnTo>
                  <a:pt x="10698" y="2113"/>
                </a:lnTo>
                <a:lnTo>
                  <a:pt x="10663" y="2118"/>
                </a:lnTo>
                <a:lnTo>
                  <a:pt x="10635" y="2133"/>
                </a:lnTo>
                <a:lnTo>
                  <a:pt x="10626" y="2146"/>
                </a:lnTo>
                <a:lnTo>
                  <a:pt x="10617" y="2159"/>
                </a:lnTo>
                <a:lnTo>
                  <a:pt x="10609" y="2175"/>
                </a:lnTo>
                <a:lnTo>
                  <a:pt x="10604" y="2194"/>
                </a:lnTo>
                <a:lnTo>
                  <a:pt x="10785" y="2194"/>
                </a:lnTo>
                <a:close/>
                <a:moveTo>
                  <a:pt x="11113" y="2472"/>
                </a:moveTo>
                <a:lnTo>
                  <a:pt x="10952" y="2026"/>
                </a:lnTo>
                <a:lnTo>
                  <a:pt x="11091" y="2026"/>
                </a:lnTo>
                <a:lnTo>
                  <a:pt x="11141" y="2196"/>
                </a:lnTo>
                <a:lnTo>
                  <a:pt x="11176" y="2325"/>
                </a:lnTo>
                <a:lnTo>
                  <a:pt x="11204" y="2196"/>
                </a:lnTo>
                <a:lnTo>
                  <a:pt x="11249" y="2026"/>
                </a:lnTo>
                <a:lnTo>
                  <a:pt x="11390" y="2026"/>
                </a:lnTo>
                <a:lnTo>
                  <a:pt x="11238" y="2472"/>
                </a:lnTo>
                <a:lnTo>
                  <a:pt x="11113" y="2472"/>
                </a:lnTo>
                <a:close/>
                <a:moveTo>
                  <a:pt x="11555" y="2287"/>
                </a:moveTo>
                <a:lnTo>
                  <a:pt x="11558" y="2309"/>
                </a:lnTo>
                <a:lnTo>
                  <a:pt x="11566" y="2327"/>
                </a:lnTo>
                <a:lnTo>
                  <a:pt x="11586" y="2357"/>
                </a:lnTo>
                <a:lnTo>
                  <a:pt x="11601" y="2368"/>
                </a:lnTo>
                <a:lnTo>
                  <a:pt x="11616" y="2375"/>
                </a:lnTo>
                <a:lnTo>
                  <a:pt x="11634" y="2379"/>
                </a:lnTo>
                <a:lnTo>
                  <a:pt x="11655" y="2381"/>
                </a:lnTo>
                <a:lnTo>
                  <a:pt x="11679" y="2379"/>
                </a:lnTo>
                <a:lnTo>
                  <a:pt x="11701" y="2372"/>
                </a:lnTo>
                <a:lnTo>
                  <a:pt x="11718" y="2359"/>
                </a:lnTo>
                <a:lnTo>
                  <a:pt x="11732" y="2342"/>
                </a:lnTo>
                <a:lnTo>
                  <a:pt x="11866" y="2342"/>
                </a:lnTo>
                <a:lnTo>
                  <a:pt x="11855" y="2373"/>
                </a:lnTo>
                <a:lnTo>
                  <a:pt x="11838" y="2401"/>
                </a:lnTo>
                <a:lnTo>
                  <a:pt x="11816" y="2425"/>
                </a:lnTo>
                <a:lnTo>
                  <a:pt x="11790" y="2446"/>
                </a:lnTo>
                <a:lnTo>
                  <a:pt x="11760" y="2462"/>
                </a:lnTo>
                <a:lnTo>
                  <a:pt x="11727" y="2473"/>
                </a:lnTo>
                <a:lnTo>
                  <a:pt x="11690" y="2483"/>
                </a:lnTo>
                <a:lnTo>
                  <a:pt x="11651" y="2484"/>
                </a:lnTo>
                <a:lnTo>
                  <a:pt x="11601" y="2481"/>
                </a:lnTo>
                <a:lnTo>
                  <a:pt x="11556" y="2468"/>
                </a:lnTo>
                <a:lnTo>
                  <a:pt x="11517" y="2447"/>
                </a:lnTo>
                <a:lnTo>
                  <a:pt x="11501" y="2435"/>
                </a:lnTo>
                <a:lnTo>
                  <a:pt x="11484" y="2420"/>
                </a:lnTo>
                <a:lnTo>
                  <a:pt x="11458" y="2385"/>
                </a:lnTo>
                <a:lnTo>
                  <a:pt x="11438" y="2346"/>
                </a:lnTo>
                <a:lnTo>
                  <a:pt x="11425" y="2299"/>
                </a:lnTo>
                <a:lnTo>
                  <a:pt x="11423" y="2275"/>
                </a:lnTo>
                <a:lnTo>
                  <a:pt x="11421" y="2249"/>
                </a:lnTo>
                <a:lnTo>
                  <a:pt x="11425" y="2200"/>
                </a:lnTo>
                <a:lnTo>
                  <a:pt x="11438" y="2153"/>
                </a:lnTo>
                <a:lnTo>
                  <a:pt x="11458" y="2113"/>
                </a:lnTo>
                <a:lnTo>
                  <a:pt x="11471" y="2094"/>
                </a:lnTo>
                <a:lnTo>
                  <a:pt x="11484" y="2079"/>
                </a:lnTo>
                <a:lnTo>
                  <a:pt x="11501" y="2064"/>
                </a:lnTo>
                <a:lnTo>
                  <a:pt x="11517" y="2052"/>
                </a:lnTo>
                <a:lnTo>
                  <a:pt x="11556" y="2029"/>
                </a:lnTo>
                <a:lnTo>
                  <a:pt x="11601" y="2016"/>
                </a:lnTo>
                <a:lnTo>
                  <a:pt x="11625" y="2015"/>
                </a:lnTo>
                <a:lnTo>
                  <a:pt x="11651" y="2013"/>
                </a:lnTo>
                <a:lnTo>
                  <a:pt x="11684" y="2015"/>
                </a:lnTo>
                <a:lnTo>
                  <a:pt x="11716" y="2022"/>
                </a:lnTo>
                <a:lnTo>
                  <a:pt x="11745" y="2033"/>
                </a:lnTo>
                <a:lnTo>
                  <a:pt x="11773" y="2048"/>
                </a:lnTo>
                <a:lnTo>
                  <a:pt x="11797" y="2066"/>
                </a:lnTo>
                <a:lnTo>
                  <a:pt x="11818" y="2089"/>
                </a:lnTo>
                <a:lnTo>
                  <a:pt x="11836" y="2114"/>
                </a:lnTo>
                <a:lnTo>
                  <a:pt x="11849" y="2144"/>
                </a:lnTo>
                <a:lnTo>
                  <a:pt x="11860" y="2174"/>
                </a:lnTo>
                <a:lnTo>
                  <a:pt x="11866" y="2207"/>
                </a:lnTo>
                <a:lnTo>
                  <a:pt x="11872" y="2244"/>
                </a:lnTo>
                <a:lnTo>
                  <a:pt x="11872" y="2287"/>
                </a:lnTo>
                <a:lnTo>
                  <a:pt x="11555" y="2287"/>
                </a:lnTo>
                <a:close/>
                <a:moveTo>
                  <a:pt x="11736" y="2194"/>
                </a:moveTo>
                <a:lnTo>
                  <a:pt x="11732" y="2175"/>
                </a:lnTo>
                <a:lnTo>
                  <a:pt x="11727" y="2159"/>
                </a:lnTo>
                <a:lnTo>
                  <a:pt x="11719" y="2146"/>
                </a:lnTo>
                <a:lnTo>
                  <a:pt x="11710" y="2133"/>
                </a:lnTo>
                <a:lnTo>
                  <a:pt x="11697" y="2126"/>
                </a:lnTo>
                <a:lnTo>
                  <a:pt x="11684" y="2118"/>
                </a:lnTo>
                <a:lnTo>
                  <a:pt x="11668" y="2114"/>
                </a:lnTo>
                <a:lnTo>
                  <a:pt x="11649" y="2113"/>
                </a:lnTo>
                <a:lnTo>
                  <a:pt x="11614" y="2118"/>
                </a:lnTo>
                <a:lnTo>
                  <a:pt x="11586" y="2133"/>
                </a:lnTo>
                <a:lnTo>
                  <a:pt x="11575" y="2146"/>
                </a:lnTo>
                <a:lnTo>
                  <a:pt x="11566" y="2159"/>
                </a:lnTo>
                <a:lnTo>
                  <a:pt x="11560" y="2175"/>
                </a:lnTo>
                <a:lnTo>
                  <a:pt x="11555" y="2194"/>
                </a:lnTo>
                <a:lnTo>
                  <a:pt x="11736" y="2194"/>
                </a:lnTo>
                <a:close/>
                <a:moveTo>
                  <a:pt x="12101" y="2472"/>
                </a:moveTo>
                <a:lnTo>
                  <a:pt x="11968" y="2472"/>
                </a:lnTo>
                <a:lnTo>
                  <a:pt x="11968" y="1854"/>
                </a:lnTo>
                <a:lnTo>
                  <a:pt x="12101" y="1854"/>
                </a:lnTo>
                <a:lnTo>
                  <a:pt x="12101" y="2472"/>
                </a:lnTo>
                <a:close/>
                <a:moveTo>
                  <a:pt x="12670" y="2251"/>
                </a:moveTo>
                <a:lnTo>
                  <a:pt x="12667" y="2301"/>
                </a:lnTo>
                <a:lnTo>
                  <a:pt x="12652" y="2346"/>
                </a:lnTo>
                <a:lnTo>
                  <a:pt x="12632" y="2385"/>
                </a:lnTo>
                <a:lnTo>
                  <a:pt x="12619" y="2403"/>
                </a:lnTo>
                <a:lnTo>
                  <a:pt x="12604" y="2418"/>
                </a:lnTo>
                <a:lnTo>
                  <a:pt x="12587" y="2433"/>
                </a:lnTo>
                <a:lnTo>
                  <a:pt x="12569" y="2446"/>
                </a:lnTo>
                <a:lnTo>
                  <a:pt x="12528" y="2468"/>
                </a:lnTo>
                <a:lnTo>
                  <a:pt x="12481" y="2479"/>
                </a:lnTo>
                <a:lnTo>
                  <a:pt x="12457" y="2483"/>
                </a:lnTo>
                <a:lnTo>
                  <a:pt x="12431" y="2484"/>
                </a:lnTo>
                <a:lnTo>
                  <a:pt x="12381" y="2479"/>
                </a:lnTo>
                <a:lnTo>
                  <a:pt x="12337" y="2466"/>
                </a:lnTo>
                <a:lnTo>
                  <a:pt x="12296" y="2446"/>
                </a:lnTo>
                <a:lnTo>
                  <a:pt x="12277" y="2433"/>
                </a:lnTo>
                <a:lnTo>
                  <a:pt x="12261" y="2418"/>
                </a:lnTo>
                <a:lnTo>
                  <a:pt x="12246" y="2401"/>
                </a:lnTo>
                <a:lnTo>
                  <a:pt x="12233" y="2385"/>
                </a:lnTo>
                <a:lnTo>
                  <a:pt x="12213" y="2344"/>
                </a:lnTo>
                <a:lnTo>
                  <a:pt x="12200" y="2298"/>
                </a:lnTo>
                <a:lnTo>
                  <a:pt x="12196" y="2274"/>
                </a:lnTo>
                <a:lnTo>
                  <a:pt x="12194" y="2248"/>
                </a:lnTo>
                <a:lnTo>
                  <a:pt x="12200" y="2198"/>
                </a:lnTo>
                <a:lnTo>
                  <a:pt x="12213" y="2153"/>
                </a:lnTo>
                <a:lnTo>
                  <a:pt x="12233" y="2113"/>
                </a:lnTo>
                <a:lnTo>
                  <a:pt x="12246" y="2096"/>
                </a:lnTo>
                <a:lnTo>
                  <a:pt x="12261" y="2079"/>
                </a:lnTo>
                <a:lnTo>
                  <a:pt x="12277" y="2064"/>
                </a:lnTo>
                <a:lnTo>
                  <a:pt x="12296" y="2052"/>
                </a:lnTo>
                <a:lnTo>
                  <a:pt x="12337" y="2029"/>
                </a:lnTo>
                <a:lnTo>
                  <a:pt x="12381" y="2016"/>
                </a:lnTo>
                <a:lnTo>
                  <a:pt x="12405" y="2015"/>
                </a:lnTo>
                <a:lnTo>
                  <a:pt x="12431" y="2013"/>
                </a:lnTo>
                <a:lnTo>
                  <a:pt x="12483" y="2016"/>
                </a:lnTo>
                <a:lnTo>
                  <a:pt x="12530" y="2029"/>
                </a:lnTo>
                <a:lnTo>
                  <a:pt x="12570" y="2052"/>
                </a:lnTo>
                <a:lnTo>
                  <a:pt x="12587" y="2064"/>
                </a:lnTo>
                <a:lnTo>
                  <a:pt x="12604" y="2079"/>
                </a:lnTo>
                <a:lnTo>
                  <a:pt x="12619" y="2096"/>
                </a:lnTo>
                <a:lnTo>
                  <a:pt x="12632" y="2113"/>
                </a:lnTo>
                <a:lnTo>
                  <a:pt x="12654" y="2155"/>
                </a:lnTo>
                <a:lnTo>
                  <a:pt x="12667" y="2201"/>
                </a:lnTo>
                <a:lnTo>
                  <a:pt x="12669" y="2225"/>
                </a:lnTo>
                <a:lnTo>
                  <a:pt x="12670" y="2251"/>
                </a:lnTo>
                <a:close/>
                <a:moveTo>
                  <a:pt x="12328" y="2248"/>
                </a:moveTo>
                <a:lnTo>
                  <a:pt x="12329" y="2277"/>
                </a:lnTo>
                <a:lnTo>
                  <a:pt x="12335" y="2305"/>
                </a:lnTo>
                <a:lnTo>
                  <a:pt x="12342" y="2327"/>
                </a:lnTo>
                <a:lnTo>
                  <a:pt x="12355" y="2346"/>
                </a:lnTo>
                <a:lnTo>
                  <a:pt x="12370" y="2361"/>
                </a:lnTo>
                <a:lnTo>
                  <a:pt x="12387" y="2372"/>
                </a:lnTo>
                <a:lnTo>
                  <a:pt x="12409" y="2377"/>
                </a:lnTo>
                <a:lnTo>
                  <a:pt x="12433" y="2379"/>
                </a:lnTo>
                <a:lnTo>
                  <a:pt x="12455" y="2377"/>
                </a:lnTo>
                <a:lnTo>
                  <a:pt x="12478" y="2372"/>
                </a:lnTo>
                <a:lnTo>
                  <a:pt x="12494" y="2361"/>
                </a:lnTo>
                <a:lnTo>
                  <a:pt x="12509" y="2346"/>
                </a:lnTo>
                <a:lnTo>
                  <a:pt x="12517" y="2336"/>
                </a:lnTo>
                <a:lnTo>
                  <a:pt x="12522" y="2327"/>
                </a:lnTo>
                <a:lnTo>
                  <a:pt x="12531" y="2305"/>
                </a:lnTo>
                <a:lnTo>
                  <a:pt x="12535" y="2279"/>
                </a:lnTo>
                <a:lnTo>
                  <a:pt x="12537" y="2251"/>
                </a:lnTo>
                <a:lnTo>
                  <a:pt x="12535" y="2220"/>
                </a:lnTo>
                <a:lnTo>
                  <a:pt x="12531" y="2194"/>
                </a:lnTo>
                <a:lnTo>
                  <a:pt x="12522" y="2170"/>
                </a:lnTo>
                <a:lnTo>
                  <a:pt x="12511" y="2151"/>
                </a:lnTo>
                <a:lnTo>
                  <a:pt x="12496" y="2137"/>
                </a:lnTo>
                <a:lnTo>
                  <a:pt x="12478" y="2126"/>
                </a:lnTo>
                <a:lnTo>
                  <a:pt x="12455" y="2120"/>
                </a:lnTo>
                <a:lnTo>
                  <a:pt x="12431" y="2118"/>
                </a:lnTo>
                <a:lnTo>
                  <a:pt x="12409" y="2120"/>
                </a:lnTo>
                <a:lnTo>
                  <a:pt x="12387" y="2126"/>
                </a:lnTo>
                <a:lnTo>
                  <a:pt x="12370" y="2137"/>
                </a:lnTo>
                <a:lnTo>
                  <a:pt x="12355" y="2151"/>
                </a:lnTo>
                <a:lnTo>
                  <a:pt x="12348" y="2161"/>
                </a:lnTo>
                <a:lnTo>
                  <a:pt x="12342" y="2170"/>
                </a:lnTo>
                <a:lnTo>
                  <a:pt x="12333" y="2192"/>
                </a:lnTo>
                <a:lnTo>
                  <a:pt x="12329" y="2218"/>
                </a:lnTo>
                <a:lnTo>
                  <a:pt x="12328" y="2248"/>
                </a:lnTo>
                <a:close/>
                <a:moveTo>
                  <a:pt x="12893" y="2026"/>
                </a:moveTo>
                <a:lnTo>
                  <a:pt x="12889" y="2077"/>
                </a:lnTo>
                <a:lnTo>
                  <a:pt x="12917" y="2048"/>
                </a:lnTo>
                <a:lnTo>
                  <a:pt x="12947" y="2027"/>
                </a:lnTo>
                <a:lnTo>
                  <a:pt x="12962" y="2020"/>
                </a:lnTo>
                <a:lnTo>
                  <a:pt x="12978" y="2016"/>
                </a:lnTo>
                <a:lnTo>
                  <a:pt x="13015" y="2013"/>
                </a:lnTo>
                <a:lnTo>
                  <a:pt x="13058" y="2016"/>
                </a:lnTo>
                <a:lnTo>
                  <a:pt x="13097" y="2029"/>
                </a:lnTo>
                <a:lnTo>
                  <a:pt x="13130" y="2050"/>
                </a:lnTo>
                <a:lnTo>
                  <a:pt x="13145" y="2063"/>
                </a:lnTo>
                <a:lnTo>
                  <a:pt x="13160" y="2077"/>
                </a:lnTo>
                <a:lnTo>
                  <a:pt x="13182" y="2111"/>
                </a:lnTo>
                <a:lnTo>
                  <a:pt x="13191" y="2131"/>
                </a:lnTo>
                <a:lnTo>
                  <a:pt x="13199" y="2151"/>
                </a:lnTo>
                <a:lnTo>
                  <a:pt x="13210" y="2198"/>
                </a:lnTo>
                <a:lnTo>
                  <a:pt x="13214" y="2248"/>
                </a:lnTo>
                <a:lnTo>
                  <a:pt x="13210" y="2298"/>
                </a:lnTo>
                <a:lnTo>
                  <a:pt x="13206" y="2322"/>
                </a:lnTo>
                <a:lnTo>
                  <a:pt x="13199" y="2344"/>
                </a:lnTo>
                <a:lnTo>
                  <a:pt x="13191" y="2366"/>
                </a:lnTo>
                <a:lnTo>
                  <a:pt x="13182" y="2385"/>
                </a:lnTo>
                <a:lnTo>
                  <a:pt x="13160" y="2420"/>
                </a:lnTo>
                <a:lnTo>
                  <a:pt x="13130" y="2447"/>
                </a:lnTo>
                <a:lnTo>
                  <a:pt x="13097" y="2468"/>
                </a:lnTo>
                <a:lnTo>
                  <a:pt x="13060" y="2481"/>
                </a:lnTo>
                <a:lnTo>
                  <a:pt x="13038" y="2483"/>
                </a:lnTo>
                <a:lnTo>
                  <a:pt x="13017" y="2484"/>
                </a:lnTo>
                <a:lnTo>
                  <a:pt x="12982" y="2481"/>
                </a:lnTo>
                <a:lnTo>
                  <a:pt x="12952" y="2473"/>
                </a:lnTo>
                <a:lnTo>
                  <a:pt x="12924" y="2459"/>
                </a:lnTo>
                <a:lnTo>
                  <a:pt x="12897" y="2436"/>
                </a:lnTo>
                <a:lnTo>
                  <a:pt x="12897" y="2614"/>
                </a:lnTo>
                <a:lnTo>
                  <a:pt x="12765" y="2614"/>
                </a:lnTo>
                <a:lnTo>
                  <a:pt x="12765" y="2026"/>
                </a:lnTo>
                <a:lnTo>
                  <a:pt x="12893" y="2026"/>
                </a:lnTo>
                <a:close/>
                <a:moveTo>
                  <a:pt x="12891" y="2248"/>
                </a:moveTo>
                <a:lnTo>
                  <a:pt x="12893" y="2277"/>
                </a:lnTo>
                <a:lnTo>
                  <a:pt x="12898" y="2301"/>
                </a:lnTo>
                <a:lnTo>
                  <a:pt x="12906" y="2324"/>
                </a:lnTo>
                <a:lnTo>
                  <a:pt x="12917" y="2342"/>
                </a:lnTo>
                <a:lnTo>
                  <a:pt x="12932" y="2357"/>
                </a:lnTo>
                <a:lnTo>
                  <a:pt x="12949" y="2368"/>
                </a:lnTo>
                <a:lnTo>
                  <a:pt x="12967" y="2375"/>
                </a:lnTo>
                <a:lnTo>
                  <a:pt x="12987" y="2377"/>
                </a:lnTo>
                <a:lnTo>
                  <a:pt x="13008" y="2375"/>
                </a:lnTo>
                <a:lnTo>
                  <a:pt x="13026" y="2368"/>
                </a:lnTo>
                <a:lnTo>
                  <a:pt x="13043" y="2359"/>
                </a:lnTo>
                <a:lnTo>
                  <a:pt x="13058" y="2344"/>
                </a:lnTo>
                <a:lnTo>
                  <a:pt x="13069" y="2325"/>
                </a:lnTo>
                <a:lnTo>
                  <a:pt x="13076" y="2303"/>
                </a:lnTo>
                <a:lnTo>
                  <a:pt x="13082" y="2277"/>
                </a:lnTo>
                <a:lnTo>
                  <a:pt x="13084" y="2249"/>
                </a:lnTo>
                <a:lnTo>
                  <a:pt x="13082" y="2222"/>
                </a:lnTo>
                <a:lnTo>
                  <a:pt x="13080" y="2209"/>
                </a:lnTo>
                <a:lnTo>
                  <a:pt x="13076" y="2196"/>
                </a:lnTo>
                <a:lnTo>
                  <a:pt x="13069" y="2174"/>
                </a:lnTo>
                <a:lnTo>
                  <a:pt x="13058" y="2155"/>
                </a:lnTo>
                <a:lnTo>
                  <a:pt x="13045" y="2138"/>
                </a:lnTo>
                <a:lnTo>
                  <a:pt x="13028" y="2129"/>
                </a:lnTo>
                <a:lnTo>
                  <a:pt x="13008" y="2122"/>
                </a:lnTo>
                <a:lnTo>
                  <a:pt x="12987" y="2120"/>
                </a:lnTo>
                <a:lnTo>
                  <a:pt x="12967" y="2122"/>
                </a:lnTo>
                <a:lnTo>
                  <a:pt x="12947" y="2129"/>
                </a:lnTo>
                <a:lnTo>
                  <a:pt x="12932" y="2138"/>
                </a:lnTo>
                <a:lnTo>
                  <a:pt x="12917" y="2153"/>
                </a:lnTo>
                <a:lnTo>
                  <a:pt x="12906" y="2172"/>
                </a:lnTo>
                <a:lnTo>
                  <a:pt x="12898" y="2194"/>
                </a:lnTo>
                <a:lnTo>
                  <a:pt x="12893" y="2220"/>
                </a:lnTo>
                <a:lnTo>
                  <a:pt x="12891" y="2248"/>
                </a:lnTo>
                <a:close/>
                <a:moveTo>
                  <a:pt x="13436" y="2026"/>
                </a:moveTo>
                <a:lnTo>
                  <a:pt x="13436" y="2079"/>
                </a:lnTo>
                <a:lnTo>
                  <a:pt x="13466" y="2046"/>
                </a:lnTo>
                <a:lnTo>
                  <a:pt x="13494" y="2027"/>
                </a:lnTo>
                <a:lnTo>
                  <a:pt x="13507" y="2020"/>
                </a:lnTo>
                <a:lnTo>
                  <a:pt x="13523" y="2016"/>
                </a:lnTo>
                <a:lnTo>
                  <a:pt x="13558" y="2013"/>
                </a:lnTo>
                <a:lnTo>
                  <a:pt x="13599" y="2016"/>
                </a:lnTo>
                <a:lnTo>
                  <a:pt x="13633" y="2031"/>
                </a:lnTo>
                <a:lnTo>
                  <a:pt x="13647" y="2040"/>
                </a:lnTo>
                <a:lnTo>
                  <a:pt x="13660" y="2053"/>
                </a:lnTo>
                <a:lnTo>
                  <a:pt x="13673" y="2068"/>
                </a:lnTo>
                <a:lnTo>
                  <a:pt x="13683" y="2085"/>
                </a:lnTo>
                <a:lnTo>
                  <a:pt x="13718" y="2052"/>
                </a:lnTo>
                <a:lnTo>
                  <a:pt x="13749" y="2029"/>
                </a:lnTo>
                <a:lnTo>
                  <a:pt x="13783" y="2016"/>
                </a:lnTo>
                <a:lnTo>
                  <a:pt x="13822" y="2013"/>
                </a:lnTo>
                <a:lnTo>
                  <a:pt x="13855" y="2016"/>
                </a:lnTo>
                <a:lnTo>
                  <a:pt x="13887" y="2024"/>
                </a:lnTo>
                <a:lnTo>
                  <a:pt x="13913" y="2037"/>
                </a:lnTo>
                <a:lnTo>
                  <a:pt x="13935" y="2055"/>
                </a:lnTo>
                <a:lnTo>
                  <a:pt x="13950" y="2077"/>
                </a:lnTo>
                <a:lnTo>
                  <a:pt x="13961" y="2103"/>
                </a:lnTo>
                <a:lnTo>
                  <a:pt x="13964" y="2118"/>
                </a:lnTo>
                <a:lnTo>
                  <a:pt x="13968" y="2135"/>
                </a:lnTo>
                <a:lnTo>
                  <a:pt x="13970" y="2175"/>
                </a:lnTo>
                <a:lnTo>
                  <a:pt x="13970" y="2472"/>
                </a:lnTo>
                <a:lnTo>
                  <a:pt x="13838" y="2472"/>
                </a:lnTo>
                <a:lnTo>
                  <a:pt x="13838" y="2225"/>
                </a:lnTo>
                <a:lnTo>
                  <a:pt x="13833" y="2181"/>
                </a:lnTo>
                <a:lnTo>
                  <a:pt x="13829" y="2164"/>
                </a:lnTo>
                <a:lnTo>
                  <a:pt x="13822" y="2151"/>
                </a:lnTo>
                <a:lnTo>
                  <a:pt x="13812" y="2140"/>
                </a:lnTo>
                <a:lnTo>
                  <a:pt x="13801" y="2133"/>
                </a:lnTo>
                <a:lnTo>
                  <a:pt x="13788" y="2127"/>
                </a:lnTo>
                <a:lnTo>
                  <a:pt x="13772" y="2127"/>
                </a:lnTo>
                <a:lnTo>
                  <a:pt x="13755" y="2127"/>
                </a:lnTo>
                <a:lnTo>
                  <a:pt x="13742" y="2133"/>
                </a:lnTo>
                <a:lnTo>
                  <a:pt x="13731" y="2140"/>
                </a:lnTo>
                <a:lnTo>
                  <a:pt x="13722" y="2151"/>
                </a:lnTo>
                <a:lnTo>
                  <a:pt x="13714" y="2164"/>
                </a:lnTo>
                <a:lnTo>
                  <a:pt x="13709" y="2181"/>
                </a:lnTo>
                <a:lnTo>
                  <a:pt x="13705" y="2225"/>
                </a:lnTo>
                <a:lnTo>
                  <a:pt x="13705" y="2472"/>
                </a:lnTo>
                <a:lnTo>
                  <a:pt x="13573" y="2472"/>
                </a:lnTo>
                <a:lnTo>
                  <a:pt x="13573" y="2225"/>
                </a:lnTo>
                <a:lnTo>
                  <a:pt x="13570" y="2181"/>
                </a:lnTo>
                <a:lnTo>
                  <a:pt x="13564" y="2164"/>
                </a:lnTo>
                <a:lnTo>
                  <a:pt x="13557" y="2151"/>
                </a:lnTo>
                <a:lnTo>
                  <a:pt x="13547" y="2140"/>
                </a:lnTo>
                <a:lnTo>
                  <a:pt x="13536" y="2133"/>
                </a:lnTo>
                <a:lnTo>
                  <a:pt x="13507" y="2127"/>
                </a:lnTo>
                <a:lnTo>
                  <a:pt x="13477" y="2133"/>
                </a:lnTo>
                <a:lnTo>
                  <a:pt x="13466" y="2140"/>
                </a:lnTo>
                <a:lnTo>
                  <a:pt x="13456" y="2151"/>
                </a:lnTo>
                <a:lnTo>
                  <a:pt x="13449" y="2164"/>
                </a:lnTo>
                <a:lnTo>
                  <a:pt x="13444" y="2181"/>
                </a:lnTo>
                <a:lnTo>
                  <a:pt x="13440" y="2225"/>
                </a:lnTo>
                <a:lnTo>
                  <a:pt x="13440" y="2472"/>
                </a:lnTo>
                <a:lnTo>
                  <a:pt x="13308" y="2472"/>
                </a:lnTo>
                <a:lnTo>
                  <a:pt x="13308" y="2026"/>
                </a:lnTo>
                <a:lnTo>
                  <a:pt x="13436" y="2026"/>
                </a:lnTo>
                <a:close/>
                <a:moveTo>
                  <a:pt x="14196" y="2287"/>
                </a:moveTo>
                <a:lnTo>
                  <a:pt x="14202" y="2309"/>
                </a:lnTo>
                <a:lnTo>
                  <a:pt x="14209" y="2327"/>
                </a:lnTo>
                <a:lnTo>
                  <a:pt x="14229" y="2357"/>
                </a:lnTo>
                <a:lnTo>
                  <a:pt x="14242" y="2368"/>
                </a:lnTo>
                <a:lnTo>
                  <a:pt x="14259" y="2375"/>
                </a:lnTo>
                <a:lnTo>
                  <a:pt x="14278" y="2379"/>
                </a:lnTo>
                <a:lnTo>
                  <a:pt x="14298" y="2381"/>
                </a:lnTo>
                <a:lnTo>
                  <a:pt x="14322" y="2379"/>
                </a:lnTo>
                <a:lnTo>
                  <a:pt x="14344" y="2372"/>
                </a:lnTo>
                <a:lnTo>
                  <a:pt x="14361" y="2359"/>
                </a:lnTo>
                <a:lnTo>
                  <a:pt x="14376" y="2342"/>
                </a:lnTo>
                <a:lnTo>
                  <a:pt x="14509" y="2342"/>
                </a:lnTo>
                <a:lnTo>
                  <a:pt x="14498" y="2373"/>
                </a:lnTo>
                <a:lnTo>
                  <a:pt x="14480" y="2401"/>
                </a:lnTo>
                <a:lnTo>
                  <a:pt x="14459" y="2425"/>
                </a:lnTo>
                <a:lnTo>
                  <a:pt x="14433" y="2446"/>
                </a:lnTo>
                <a:lnTo>
                  <a:pt x="14402" y="2462"/>
                </a:lnTo>
                <a:lnTo>
                  <a:pt x="14369" y="2473"/>
                </a:lnTo>
                <a:lnTo>
                  <a:pt x="14333" y="2483"/>
                </a:lnTo>
                <a:lnTo>
                  <a:pt x="14294" y="2484"/>
                </a:lnTo>
                <a:lnTo>
                  <a:pt x="14244" y="2481"/>
                </a:lnTo>
                <a:lnTo>
                  <a:pt x="14200" y="2468"/>
                </a:lnTo>
                <a:lnTo>
                  <a:pt x="14161" y="2447"/>
                </a:lnTo>
                <a:lnTo>
                  <a:pt x="14142" y="2435"/>
                </a:lnTo>
                <a:lnTo>
                  <a:pt x="14128" y="2420"/>
                </a:lnTo>
                <a:lnTo>
                  <a:pt x="14100" y="2385"/>
                </a:lnTo>
                <a:lnTo>
                  <a:pt x="14081" y="2346"/>
                </a:lnTo>
                <a:lnTo>
                  <a:pt x="14068" y="2299"/>
                </a:lnTo>
                <a:lnTo>
                  <a:pt x="14065" y="2275"/>
                </a:lnTo>
                <a:lnTo>
                  <a:pt x="14065" y="2249"/>
                </a:lnTo>
                <a:lnTo>
                  <a:pt x="14068" y="2200"/>
                </a:lnTo>
                <a:lnTo>
                  <a:pt x="14081" y="2153"/>
                </a:lnTo>
                <a:lnTo>
                  <a:pt x="14102" y="2113"/>
                </a:lnTo>
                <a:lnTo>
                  <a:pt x="14113" y="2094"/>
                </a:lnTo>
                <a:lnTo>
                  <a:pt x="14128" y="2079"/>
                </a:lnTo>
                <a:lnTo>
                  <a:pt x="14144" y="2064"/>
                </a:lnTo>
                <a:lnTo>
                  <a:pt x="14161" y="2052"/>
                </a:lnTo>
                <a:lnTo>
                  <a:pt x="14200" y="2029"/>
                </a:lnTo>
                <a:lnTo>
                  <a:pt x="14244" y="2016"/>
                </a:lnTo>
                <a:lnTo>
                  <a:pt x="14268" y="2015"/>
                </a:lnTo>
                <a:lnTo>
                  <a:pt x="14293" y="2013"/>
                </a:lnTo>
                <a:lnTo>
                  <a:pt x="14328" y="2015"/>
                </a:lnTo>
                <a:lnTo>
                  <a:pt x="14359" y="2022"/>
                </a:lnTo>
                <a:lnTo>
                  <a:pt x="14389" y="2033"/>
                </a:lnTo>
                <a:lnTo>
                  <a:pt x="14417" y="2048"/>
                </a:lnTo>
                <a:lnTo>
                  <a:pt x="14441" y="2066"/>
                </a:lnTo>
                <a:lnTo>
                  <a:pt x="14461" y="2089"/>
                </a:lnTo>
                <a:lnTo>
                  <a:pt x="14478" y="2114"/>
                </a:lnTo>
                <a:lnTo>
                  <a:pt x="14493" y="2144"/>
                </a:lnTo>
                <a:lnTo>
                  <a:pt x="14504" y="2174"/>
                </a:lnTo>
                <a:lnTo>
                  <a:pt x="14509" y="2207"/>
                </a:lnTo>
                <a:lnTo>
                  <a:pt x="14513" y="2244"/>
                </a:lnTo>
                <a:lnTo>
                  <a:pt x="14515" y="2287"/>
                </a:lnTo>
                <a:lnTo>
                  <a:pt x="14196" y="2287"/>
                </a:lnTo>
                <a:close/>
                <a:moveTo>
                  <a:pt x="14380" y="2194"/>
                </a:moveTo>
                <a:lnTo>
                  <a:pt x="14376" y="2175"/>
                </a:lnTo>
                <a:lnTo>
                  <a:pt x="14370" y="2159"/>
                </a:lnTo>
                <a:lnTo>
                  <a:pt x="14363" y="2146"/>
                </a:lnTo>
                <a:lnTo>
                  <a:pt x="14354" y="2133"/>
                </a:lnTo>
                <a:lnTo>
                  <a:pt x="14341" y="2126"/>
                </a:lnTo>
                <a:lnTo>
                  <a:pt x="14326" y="2118"/>
                </a:lnTo>
                <a:lnTo>
                  <a:pt x="14311" y="2114"/>
                </a:lnTo>
                <a:lnTo>
                  <a:pt x="14293" y="2113"/>
                </a:lnTo>
                <a:lnTo>
                  <a:pt x="14257" y="2118"/>
                </a:lnTo>
                <a:lnTo>
                  <a:pt x="14229" y="2133"/>
                </a:lnTo>
                <a:lnTo>
                  <a:pt x="14218" y="2146"/>
                </a:lnTo>
                <a:lnTo>
                  <a:pt x="14209" y="2159"/>
                </a:lnTo>
                <a:lnTo>
                  <a:pt x="14204" y="2175"/>
                </a:lnTo>
                <a:lnTo>
                  <a:pt x="14198" y="2194"/>
                </a:lnTo>
                <a:lnTo>
                  <a:pt x="14380" y="2194"/>
                </a:lnTo>
                <a:close/>
                <a:moveTo>
                  <a:pt x="14737" y="2026"/>
                </a:moveTo>
                <a:lnTo>
                  <a:pt x="14737" y="2068"/>
                </a:lnTo>
                <a:lnTo>
                  <a:pt x="14771" y="2040"/>
                </a:lnTo>
                <a:lnTo>
                  <a:pt x="14800" y="2024"/>
                </a:lnTo>
                <a:lnTo>
                  <a:pt x="14828" y="2015"/>
                </a:lnTo>
                <a:lnTo>
                  <a:pt x="14860" y="2013"/>
                </a:lnTo>
                <a:lnTo>
                  <a:pt x="14895" y="2015"/>
                </a:lnTo>
                <a:lnTo>
                  <a:pt x="14927" y="2024"/>
                </a:lnTo>
                <a:lnTo>
                  <a:pt x="14952" y="2039"/>
                </a:lnTo>
                <a:lnTo>
                  <a:pt x="14975" y="2057"/>
                </a:lnTo>
                <a:lnTo>
                  <a:pt x="14993" y="2081"/>
                </a:lnTo>
                <a:lnTo>
                  <a:pt x="15006" y="2111"/>
                </a:lnTo>
                <a:lnTo>
                  <a:pt x="15015" y="2144"/>
                </a:lnTo>
                <a:lnTo>
                  <a:pt x="15017" y="2183"/>
                </a:lnTo>
                <a:lnTo>
                  <a:pt x="15017" y="2472"/>
                </a:lnTo>
                <a:lnTo>
                  <a:pt x="14886" y="2472"/>
                </a:lnTo>
                <a:lnTo>
                  <a:pt x="14886" y="2229"/>
                </a:lnTo>
                <a:lnTo>
                  <a:pt x="14886" y="2200"/>
                </a:lnTo>
                <a:lnTo>
                  <a:pt x="14882" y="2177"/>
                </a:lnTo>
                <a:lnTo>
                  <a:pt x="14878" y="2163"/>
                </a:lnTo>
                <a:lnTo>
                  <a:pt x="14871" y="2150"/>
                </a:lnTo>
                <a:lnTo>
                  <a:pt x="14862" y="2138"/>
                </a:lnTo>
                <a:lnTo>
                  <a:pt x="14849" y="2129"/>
                </a:lnTo>
                <a:lnTo>
                  <a:pt x="14834" y="2126"/>
                </a:lnTo>
                <a:lnTo>
                  <a:pt x="14817" y="2124"/>
                </a:lnTo>
                <a:lnTo>
                  <a:pt x="14786" y="2129"/>
                </a:lnTo>
                <a:lnTo>
                  <a:pt x="14773" y="2137"/>
                </a:lnTo>
                <a:lnTo>
                  <a:pt x="14762" y="2148"/>
                </a:lnTo>
                <a:lnTo>
                  <a:pt x="14752" y="2161"/>
                </a:lnTo>
                <a:lnTo>
                  <a:pt x="14747" y="2175"/>
                </a:lnTo>
                <a:lnTo>
                  <a:pt x="14743" y="2196"/>
                </a:lnTo>
                <a:lnTo>
                  <a:pt x="14741" y="2222"/>
                </a:lnTo>
                <a:lnTo>
                  <a:pt x="14741" y="2472"/>
                </a:lnTo>
                <a:lnTo>
                  <a:pt x="14610" y="2472"/>
                </a:lnTo>
                <a:lnTo>
                  <a:pt x="14610" y="2026"/>
                </a:lnTo>
                <a:lnTo>
                  <a:pt x="14737" y="2026"/>
                </a:lnTo>
                <a:close/>
              </a:path>
            </a:pathLst>
          </a:custGeom>
          <a:solidFill>
            <a:srgbClr val="11111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1624281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</p:sldLayoutIdLst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799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620" indent="-266620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1pPr>
      <a:lvl2pPr marL="539588" indent="-272968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06208" indent="-266620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1242" indent="-265033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5796" indent="-274556" algn="l" defTabSz="914126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12416" indent="-266620" algn="l" defTabSz="914126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77450" indent="-265033" algn="l" defTabSz="914126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004" indent="-274556" algn="l" defTabSz="914126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8624" indent="-266620" algn="l" defTabSz="914126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orient="horz" pos="300">
          <p15:clr>
            <a:srgbClr val="F26B43"/>
          </p15:clr>
        </p15:guide>
        <p15:guide id="7" orient="horz" pos="3702">
          <p15:clr>
            <a:srgbClr val="F26B43"/>
          </p15:clr>
        </p15:guide>
        <p15:guide id="8" pos="7334">
          <p15:clr>
            <a:srgbClr val="F26B43"/>
          </p15:clr>
        </p15:guide>
        <p15:guide id="9" pos="348">
          <p15:clr>
            <a:srgbClr val="F26B43"/>
          </p15:clr>
        </p15:guide>
        <p15:guide id="10" orient="horz" pos="1298">
          <p15:clr>
            <a:srgbClr val="F26B43"/>
          </p15:clr>
        </p15:guide>
        <p15:guide id="11" orient="horz" pos="1071">
          <p15:clr>
            <a:srgbClr val="F26B43"/>
          </p15:clr>
        </p15:guide>
        <p15:guide id="13" pos="38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time.com/3222128/apple-iphone/" TargetMode="Externa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s://www.etla.fi/wp-content/uploads/ETLA-Muistio-Brief-16.pdf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2.xml"/><Relationship Id="rId4" Type="http://schemas.openxmlformats.org/officeDocument/2006/relationships/image" Target="../media/image22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jpeg"/><Relationship Id="rId5" Type="http://schemas.openxmlformats.org/officeDocument/2006/relationships/image" Target="../media/image25.jpg"/><Relationship Id="rId4" Type="http://schemas.openxmlformats.org/officeDocument/2006/relationships/image" Target="../media/image2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2.png"/><Relationship Id="rId7" Type="http://schemas.openxmlformats.org/officeDocument/2006/relationships/image" Target="../media/image8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pub.etla.fi/ETLA-Muistio-Brief-158.pdf" TargetMode="Externa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EEE27E7B-F349-B1B9-A97E-130C7D7ACA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E32FA6-85D9-D519-FB09-653716A44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4085" y="526597"/>
            <a:ext cx="9144000" cy="766763"/>
          </a:xfrm>
        </p:spPr>
        <p:txBody>
          <a:bodyPr>
            <a:normAutofit/>
          </a:bodyPr>
          <a:lstStyle/>
          <a:p>
            <a:r>
              <a:rPr lang="fi-FI" sz="3600" b="1" dirty="0">
                <a:solidFill>
                  <a:schemeClr val="bg1"/>
                </a:solidFill>
              </a:rPr>
              <a:t>Nokiasta 2008–2014 lähteneiden tie yrittäjiksi</a:t>
            </a:r>
            <a:endParaRPr lang="LID4096" sz="3600" dirty="0">
              <a:solidFill>
                <a:schemeClr val="bg1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A8D894C-0657-6850-6845-771023C874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499603"/>
              </p:ext>
            </p:extLst>
          </p:nvPr>
        </p:nvGraphicFramePr>
        <p:xfrm>
          <a:off x="1328063" y="1749682"/>
          <a:ext cx="9535874" cy="39593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41264">
                  <a:extLst>
                    <a:ext uri="{9D8B030D-6E8A-4147-A177-3AD203B41FA5}">
                      <a16:colId xmlns:a16="http://schemas.microsoft.com/office/drawing/2014/main" val="4085823868"/>
                    </a:ext>
                  </a:extLst>
                </a:gridCol>
                <a:gridCol w="8094610">
                  <a:extLst>
                    <a:ext uri="{9D8B030D-6E8A-4147-A177-3AD203B41FA5}">
                      <a16:colId xmlns:a16="http://schemas.microsoft.com/office/drawing/2014/main" val="2051609250"/>
                    </a:ext>
                  </a:extLst>
                </a:gridCol>
              </a:tblGrid>
              <a:tr h="379586">
                <a:tc>
                  <a:txBody>
                    <a:bodyPr/>
                    <a:lstStyle/>
                    <a:p>
                      <a:r>
                        <a:rPr lang="fi-FI" sz="1600" b="1" dirty="0">
                          <a:solidFill>
                            <a:schemeClr val="tx1"/>
                          </a:solidFill>
                        </a:rPr>
                        <a:t>9:30–9:35</a:t>
                      </a:r>
                      <a:endParaRPr lang="LID4096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b="0" dirty="0">
                          <a:solidFill>
                            <a:schemeClr val="tx1"/>
                          </a:solidFill>
                        </a:rPr>
                        <a:t>Tervetuloa / viestintäjohtaja </a:t>
                      </a:r>
                      <a:r>
                        <a:rPr lang="fi-FI" sz="1600" b="1" dirty="0">
                          <a:solidFill>
                            <a:schemeClr val="tx1"/>
                          </a:solidFill>
                        </a:rPr>
                        <a:t>Tytti Sulander</a:t>
                      </a:r>
                      <a:r>
                        <a:rPr lang="fi-FI" sz="1600" b="0" dirty="0">
                          <a:solidFill>
                            <a:schemeClr val="tx1"/>
                          </a:solidFill>
                        </a:rPr>
                        <a:t>, Etla</a:t>
                      </a:r>
                      <a:endParaRPr lang="LID4096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19291"/>
                  </a:ext>
                </a:extLst>
              </a:tr>
              <a:tr h="592778">
                <a:tc>
                  <a:txBody>
                    <a:bodyPr/>
                    <a:lstStyle/>
                    <a:p>
                      <a:r>
                        <a:rPr lang="fi-FI" sz="1600" b="1" dirty="0"/>
                        <a:t>9:35–10:05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Nokiasta lähteneiden tie yrittäjyyteen, tutkimustuloksia / tutkimusneuvonantaja </a:t>
                      </a:r>
                      <a:r>
                        <a:rPr lang="fi-FI" sz="1600" b="1" dirty="0"/>
                        <a:t>Petri Rouvinen</a:t>
                      </a:r>
                      <a:r>
                        <a:rPr lang="fi-FI" sz="1600" dirty="0"/>
                        <a:t>, Etla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428334"/>
                  </a:ext>
                </a:extLst>
              </a:tr>
              <a:tr h="387034">
                <a:tc>
                  <a:txBody>
                    <a:bodyPr/>
                    <a:lstStyle/>
                    <a:p>
                      <a:r>
                        <a:rPr lang="fi-FI" sz="1600" b="1" dirty="0"/>
                        <a:t>10:05–10:15</a:t>
                      </a:r>
                      <a:r>
                        <a:rPr lang="fi-FI" sz="1600" dirty="0"/>
                        <a:t> </a:t>
                      </a:r>
                      <a:endParaRPr lang="LID4096" sz="16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Kommenttipuheenvuoro / </a:t>
                      </a:r>
                      <a:r>
                        <a:rPr lang="fi-FI" sz="1600" b="1" dirty="0"/>
                        <a:t>Timo Vuori</a:t>
                      </a:r>
                      <a:r>
                        <a:rPr lang="fi-FI" sz="1600" dirty="0"/>
                        <a:t>, strategiaprofessori, Aalto-yliopisto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804660"/>
                  </a:ext>
                </a:extLst>
              </a:tr>
              <a:tr h="1840732">
                <a:tc>
                  <a:txBody>
                    <a:bodyPr/>
                    <a:lstStyle/>
                    <a:p>
                      <a:r>
                        <a:rPr lang="fi-FI" sz="1600" b="1" dirty="0"/>
                        <a:t>10:15–10:50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Paneelikeskustelu</a:t>
                      </a:r>
                      <a:endParaRPr lang="fi-FI" sz="1200" b="1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Esko Aho</a:t>
                      </a:r>
                      <a:r>
                        <a:rPr lang="fi-FI" sz="1600" dirty="0"/>
                        <a:t>, Suomen pääministeri 1991–1995, Nokian yhteiskuntasuhteista vastaava johtokunnan jäsen 2009–201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Kaisa Olkkonen</a:t>
                      </a:r>
                      <a:r>
                        <a:rPr lang="fi-FI" sz="1600" dirty="0"/>
                        <a:t>, hallitusammattilainen, Nokian yhteiskuntasuhdejohtaja 2010–2016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Pekka Pesonen</a:t>
                      </a:r>
                      <a:r>
                        <a:rPr lang="fi-FI" sz="1600" dirty="0"/>
                        <a:t>, projektijohtaja, Nokian entinen Bridge-ohjelm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Timo Vuori</a:t>
                      </a:r>
                      <a:r>
                        <a:rPr lang="fi-FI" sz="1600" dirty="0"/>
                        <a:t>, strategiaprofessori, Aalto-yliopisto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Petri Rouvinen</a:t>
                      </a:r>
                      <a:r>
                        <a:rPr lang="fi-FI" sz="1600" dirty="0"/>
                        <a:t>, paneelikeskustelun moderaattori, Etl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819131"/>
                  </a:ext>
                </a:extLst>
              </a:tr>
              <a:tr h="379586">
                <a:tc>
                  <a:txBody>
                    <a:bodyPr/>
                    <a:lstStyle/>
                    <a:p>
                      <a:r>
                        <a:rPr lang="fi-FI" sz="1600" b="1" dirty="0"/>
                        <a:t>10:50–11:00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Kysymyksiä ja keskustelua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453872"/>
                  </a:ext>
                </a:extLst>
              </a:tr>
              <a:tr h="379586">
                <a:tc>
                  <a:txBody>
                    <a:bodyPr/>
                    <a:lstStyle/>
                    <a:p>
                      <a:r>
                        <a:rPr lang="fi-FI" sz="1600" b="1" dirty="0"/>
                        <a:t>11:00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Tilaisuus päättyy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937865"/>
                  </a:ext>
                </a:extLst>
              </a:tr>
            </a:tbl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4249BA61-F6E0-5972-35D4-136CC40F9F7E}"/>
              </a:ext>
            </a:extLst>
          </p:cNvPr>
          <p:cNvSpPr/>
          <p:nvPr/>
        </p:nvSpPr>
        <p:spPr>
          <a:xfrm>
            <a:off x="10199351" y="4258357"/>
            <a:ext cx="1861127" cy="1867480"/>
          </a:xfrm>
          <a:prstGeom prst="ellipse">
            <a:avLst/>
          </a:prstGeom>
          <a:solidFill>
            <a:srgbClr val="012E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40636D-A340-9993-634D-8FAF712D27C8}"/>
              </a:ext>
            </a:extLst>
          </p:cNvPr>
          <p:cNvSpPr txBox="1"/>
          <p:nvPr/>
        </p:nvSpPr>
        <p:spPr>
          <a:xfrm>
            <a:off x="10498085" y="4951229"/>
            <a:ext cx="13115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600" dirty="0">
                <a:solidFill>
                  <a:schemeClr val="bg1"/>
                </a:solidFill>
              </a:rPr>
              <a:t>Kysymyksiä voi esittää chatissa.</a:t>
            </a:r>
            <a:endParaRPr lang="LID4096" sz="1600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7396C5-09D6-FCC7-539C-47777A877DB5}"/>
              </a:ext>
            </a:extLst>
          </p:cNvPr>
          <p:cNvSpPr/>
          <p:nvPr/>
        </p:nvSpPr>
        <p:spPr>
          <a:xfrm>
            <a:off x="8581412" y="4880222"/>
            <a:ext cx="1861127" cy="1867480"/>
          </a:xfrm>
          <a:prstGeom prst="ellipse">
            <a:avLst/>
          </a:prstGeom>
          <a:solidFill>
            <a:srgbClr val="04549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047B0D1-4067-838A-5588-18595BBA42E7}"/>
              </a:ext>
            </a:extLst>
          </p:cNvPr>
          <p:cNvSpPr txBox="1"/>
          <p:nvPr/>
        </p:nvSpPr>
        <p:spPr>
          <a:xfrm>
            <a:off x="8814053" y="5611469"/>
            <a:ext cx="14463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600" dirty="0">
                <a:solidFill>
                  <a:schemeClr val="bg1"/>
                </a:solidFill>
              </a:rPr>
              <a:t>Tilaisuus tallennetaan.</a:t>
            </a:r>
            <a:endParaRPr lang="LID4096" sz="1600" dirty="0">
              <a:solidFill>
                <a:schemeClr val="bg1"/>
              </a:solidFill>
            </a:endParaRPr>
          </a:p>
        </p:txBody>
      </p:sp>
      <p:pic>
        <p:nvPicPr>
          <p:cNvPr id="13" name="Graphic 12" descr="Chat bubble outline">
            <a:extLst>
              <a:ext uri="{FF2B5EF4-FFF2-40B4-BE49-F238E27FC236}">
                <a16:creationId xmlns:a16="http://schemas.microsoft.com/office/drawing/2014/main" id="{279A1143-D481-B361-9EFF-C77CEA92D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57708" y="4473636"/>
            <a:ext cx="544411" cy="544411"/>
          </a:xfrm>
          <a:prstGeom prst="rect">
            <a:avLst/>
          </a:prstGeom>
        </p:spPr>
      </p:pic>
      <p:pic>
        <p:nvPicPr>
          <p:cNvPr id="15" name="Graphic 14" descr="Record outline">
            <a:extLst>
              <a:ext uri="{FF2B5EF4-FFF2-40B4-BE49-F238E27FC236}">
                <a16:creationId xmlns:a16="http://schemas.microsoft.com/office/drawing/2014/main" id="{F7E571D6-AD5A-1A58-322B-B3570067F5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58338" y="5085802"/>
            <a:ext cx="561852" cy="561852"/>
          </a:xfrm>
          <a:prstGeom prst="rect">
            <a:avLst/>
          </a:prstGeom>
        </p:spPr>
      </p:pic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2B9F2868-E17A-3F1F-747E-C1B8F9ACE3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0141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656DB5-5CD3-5A59-0601-8AB0337F6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7AD72F50-C4F6-FDB5-407B-8EC9F11665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BF655F-8FF3-482C-A77F-9096BD595079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kian kriisi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AE4194C5-459D-170B-0725-484D83B5EB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5016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48DD192-4E78-E0F1-D14D-FD6FB22EB9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79" y="249573"/>
            <a:ext cx="5178990" cy="635885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0E56DAC-D66A-5042-E2DE-77DABAE94C2D}"/>
              </a:ext>
            </a:extLst>
          </p:cNvPr>
          <p:cNvGrpSpPr/>
          <p:nvPr/>
        </p:nvGrpSpPr>
        <p:grpSpPr>
          <a:xfrm>
            <a:off x="6688748" y="249573"/>
            <a:ext cx="5394704" cy="6358856"/>
            <a:chOff x="6688748" y="249573"/>
            <a:chExt cx="5394704" cy="6358856"/>
          </a:xfrm>
        </p:grpSpPr>
        <p:pic>
          <p:nvPicPr>
            <p:cNvPr id="4" name="Picture 3" descr="A person holding a cell phone&#10;&#10;Description automatically generated">
              <a:extLst>
                <a:ext uri="{FF2B5EF4-FFF2-40B4-BE49-F238E27FC236}">
                  <a16:creationId xmlns:a16="http://schemas.microsoft.com/office/drawing/2014/main" id="{2CF182BD-1504-13EC-EED2-3B9868222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8748" y="249573"/>
              <a:ext cx="4748372" cy="6358855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A44366D-FAF4-C8C1-CFA4-240849F23AFC}"/>
                </a:ext>
              </a:extLst>
            </p:cNvPr>
            <p:cNvSpPr txBox="1"/>
            <p:nvPr/>
          </p:nvSpPr>
          <p:spPr>
            <a:xfrm rot="16200000">
              <a:off x="9120161" y="3645137"/>
              <a:ext cx="528025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pple CEO Steve Jobs holds up the new iPhone that was introduced at Macworld on January 9, 2007 in San Francisco, California. David Paul Morris—Getty Images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urce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hlinkClick r:id="rId5"/>
                </a:rPr>
                <a:t>https://time.com/3222128/apple-iphone/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1092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CFAAF1-8724-07B1-F70E-F8CACE16AC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715CE394-5A61-52C8-7050-0C030D24F2B4}"/>
              </a:ext>
            </a:extLst>
          </p:cNvPr>
          <p:cNvGrpSpPr/>
          <p:nvPr/>
        </p:nvGrpSpPr>
        <p:grpSpPr>
          <a:xfrm>
            <a:off x="3144000" y="85281"/>
            <a:ext cx="5904001" cy="5904000"/>
            <a:chOff x="3144000" y="477000"/>
            <a:chExt cx="5904001" cy="5904000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8733FF0C-45CB-9F76-2D01-05267E39EB54}"/>
                </a:ext>
              </a:extLst>
            </p:cNvPr>
            <p:cNvGraphicFramePr/>
            <p:nvPr/>
          </p:nvGraphicFramePr>
          <p:xfrm>
            <a:off x="3144000" y="477000"/>
            <a:ext cx="5904000" cy="590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496755C-0977-6714-C614-9CD33BB33534}"/>
                </a:ext>
              </a:extLst>
            </p:cNvPr>
            <p:cNvSpPr txBox="1"/>
            <p:nvPr/>
          </p:nvSpPr>
          <p:spPr>
            <a:xfrm>
              <a:off x="8537678" y="6108242"/>
              <a:ext cx="510323" cy="272758"/>
            </a:xfrm>
            <a:prstGeom prst="rect">
              <a:avLst/>
            </a:prstGeom>
            <a:solidFill>
              <a:srgbClr val="1F7385"/>
            </a:solidFill>
          </p:spPr>
          <p:txBody>
            <a:bodyPr wrap="none" lIns="36000" tIns="36000" rIns="36000" bIns="3600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small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ETL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46DF663-8ACE-D71B-B3A5-E7709AC552B9}"/>
                </a:ext>
              </a:extLst>
            </p:cNvPr>
            <p:cNvSpPr txBox="1"/>
            <p:nvPr/>
          </p:nvSpPr>
          <p:spPr>
            <a:xfrm>
              <a:off x="3144000" y="477001"/>
              <a:ext cx="325730" cy="430887"/>
            </a:xfrm>
            <a:prstGeom prst="rect">
              <a:avLst/>
            </a:prstGeom>
            <a:solidFill>
              <a:srgbClr val="1F7385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3B7B9AA-6E9A-C6A2-5C87-4F08F14D7DB1}"/>
                </a:ext>
              </a:extLst>
            </p:cNvPr>
            <p:cNvSpPr txBox="1"/>
            <p:nvPr/>
          </p:nvSpPr>
          <p:spPr>
            <a:xfrm>
              <a:off x="7753992" y="4373190"/>
              <a:ext cx="790280" cy="41036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Android</a:t>
              </a:r>
            </a:p>
            <a:p>
              <a:pPr marL="0" marR="0" lvl="0" indent="0" algn="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(Google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6DA8911-D477-8197-AF4B-2B44BD496160}"/>
                </a:ext>
              </a:extLst>
            </p:cNvPr>
            <p:cNvSpPr txBox="1"/>
            <p:nvPr/>
          </p:nvSpPr>
          <p:spPr>
            <a:xfrm>
              <a:off x="7437956" y="2348881"/>
              <a:ext cx="1082027" cy="2085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iOS (Apple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76F9CE1-30F0-F4FD-A58C-2592313F3B41}"/>
                </a:ext>
              </a:extLst>
            </p:cNvPr>
            <p:cNvSpPr txBox="1"/>
            <p:nvPr/>
          </p:nvSpPr>
          <p:spPr>
            <a:xfrm>
              <a:off x="4008718" y="4032787"/>
              <a:ext cx="79829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Symbian</a:t>
              </a:r>
            </a:p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(Nokia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FA24B98-243B-92A2-A11D-3B7D1C5A56FA}"/>
                </a:ext>
              </a:extLst>
            </p:cNvPr>
            <p:cNvSpPr txBox="1"/>
            <p:nvPr/>
          </p:nvSpPr>
          <p:spPr>
            <a:xfrm>
              <a:off x="3987227" y="2461668"/>
              <a:ext cx="1959092" cy="4205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RIM </a:t>
              </a:r>
            </a:p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(Blackberry)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80720D0-5DC9-F6DC-7977-AA0F562644AC}"/>
                </a:ext>
              </a:extLst>
            </p:cNvPr>
            <p:cNvSpPr txBox="1"/>
            <p:nvPr/>
          </p:nvSpPr>
          <p:spPr>
            <a:xfrm>
              <a:off x="4008718" y="2060091"/>
              <a:ext cx="528991" cy="2085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Other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183FDB2-EE02-45D8-5937-7A8E7D5E54B2}"/>
                </a:ext>
              </a:extLst>
            </p:cNvPr>
            <p:cNvSpPr txBox="1"/>
            <p:nvPr/>
          </p:nvSpPr>
          <p:spPr>
            <a:xfrm>
              <a:off x="4008717" y="1664426"/>
              <a:ext cx="875048" cy="2085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6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Palatino Linotype" pitchFamily="18" charset="0"/>
                  <a:ea typeface="+mn-ea"/>
                  <a:cs typeface="+mn-cs"/>
                </a:rPr>
                <a:t>Window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F068B245-7F2B-ECD8-57FB-6A07E661D5B6}"/>
              </a:ext>
            </a:extLst>
          </p:cNvPr>
          <p:cNvSpPr txBox="1"/>
          <p:nvPr/>
        </p:nvSpPr>
        <p:spPr>
          <a:xfrm>
            <a:off x="3540579" y="5992427"/>
            <a:ext cx="550742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hd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i-Yrkkö, Kalm, Pajarinen, Rouvinen, Seppälä &amp; Tahvanainen, 3 Sep. 2013. 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crosoft Acquires Nokia: Implications for the Two Companies and Finland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tla.fi/wp-content/uploads/ETLA-Muistio-Brief-16.pdf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5262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D299DC-7570-1927-74EF-D16B6DAE31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6C56265A-221D-3731-0E63-0D535F6513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EE57A1-55DE-6314-134A-158D21B97879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kia Suomessa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D7064376-FE1B-AA9B-50BB-C7E7EFB7AC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803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29F10-6B4D-7310-5E3F-F8F5F9D6FB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89A8F57-75DD-6B72-ED23-5F3DCB50DF7D}"/>
              </a:ext>
            </a:extLst>
          </p:cNvPr>
          <p:cNvGraphicFramePr/>
          <p:nvPr/>
        </p:nvGraphicFramePr>
        <p:xfrm>
          <a:off x="270584" y="1772433"/>
          <a:ext cx="11457804" cy="4584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FEEA1C5-0561-BDF4-7AF8-F4142A5154E3}"/>
              </a:ext>
            </a:extLst>
          </p:cNvPr>
          <p:cNvSpPr txBox="1"/>
          <p:nvPr/>
        </p:nvSpPr>
        <p:spPr>
          <a:xfrm>
            <a:off x="576944" y="196421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n</a:t>
            </a: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oli Suomess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BF57BA-0228-0AAB-3DD9-3EC005F30E81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Etlan Jyrki Ali-</a:t>
            </a:r>
            <a:r>
              <a:rPr kumimoji="0" lang="fi-FI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Yrkön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analyysit ja laskelmat. Aineistolähteinä </a:t>
            </a:r>
            <a:r>
              <a:rPr kumimoji="0" lang="fi-FI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OECD ja Tilastokeskus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2F1846-A8D6-CFB3-3291-9C5BA4E62C34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)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n Suomen työllisyys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henkilöä ja sen osuus teollisuudesta, 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E49101D-5499-4608-53FB-2D2DC5F893F2}"/>
              </a:ext>
            </a:extLst>
          </p:cNvPr>
          <p:cNvSpPr/>
          <p:nvPr/>
        </p:nvSpPr>
        <p:spPr>
          <a:xfrm>
            <a:off x="10676525" y="6031243"/>
            <a:ext cx="52561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7747883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E9EA02-C814-6A32-F665-C43F03F0C0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63E4BA8-BE01-CF91-E46D-BFB5FD3CCA3D}"/>
              </a:ext>
            </a:extLst>
          </p:cNvPr>
          <p:cNvGraphicFramePr/>
          <p:nvPr/>
        </p:nvGraphicFramePr>
        <p:xfrm>
          <a:off x="468254" y="1970097"/>
          <a:ext cx="10828103" cy="4483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2C08C66-4316-56FE-D48D-64D05217E945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n</a:t>
            </a: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oli Suomess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07EAEB8-F1B2-E3F2-3C76-E4EB1D23DD0F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Etlan Jyrki Ali-</a:t>
            </a:r>
            <a:r>
              <a:rPr kumimoji="0" lang="fi-FI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Yrkön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analyysit ja laskelmat. Aineistolähteinä </a:t>
            </a:r>
            <a:r>
              <a:rPr kumimoji="0" lang="fi-FI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OECD ja Tilastokeskus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1B6A24-9694-E5F2-F4D4-12F5B05A15EF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b)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n osuus Suomen bruttokansantuotteesta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B2659B7-76D6-E098-75C3-3DFE4E3AE507}"/>
              </a:ext>
            </a:extLst>
          </p:cNvPr>
          <p:cNvSpPr/>
          <p:nvPr/>
        </p:nvSpPr>
        <p:spPr>
          <a:xfrm>
            <a:off x="10803137" y="6024938"/>
            <a:ext cx="52561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258787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F101AF-9A61-AECB-FB0D-1C66126576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D92F1EE-1900-4375-2FC4-0B1586CFC575}"/>
              </a:ext>
            </a:extLst>
          </p:cNvPr>
          <p:cNvGraphicFramePr/>
          <p:nvPr/>
        </p:nvGraphicFramePr>
        <p:xfrm>
          <a:off x="468366" y="2011681"/>
          <a:ext cx="10821524" cy="4338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3A195D5-03DB-8F58-BF72-CA15707895FE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n</a:t>
            </a: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oli Suomess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AF66C6-1C2A-86FF-D81B-84A4CF073EC2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Etlan Jyrki Ali-</a:t>
            </a:r>
            <a:r>
              <a:rPr kumimoji="0" lang="fi-FI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Yrkön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analyysit ja laskelmat. Aineistolähteinä </a:t>
            </a:r>
            <a:r>
              <a:rPr kumimoji="0" lang="fi-FI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</a:t>
            </a: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OECD ja Tilastokeskus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A4E249-6246-F056-B4FF-851772FC6EB9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c)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n Suomen toimintojen osuus koko Suomen yrityssektorin </a:t>
            </a:r>
            <a:r>
              <a:rPr kumimoji="0" lang="fi-FI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t&amp;k-toiminnasta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2AC40-8957-1AE4-0A65-FF48F14C63D4}"/>
              </a:ext>
            </a:extLst>
          </p:cNvPr>
          <p:cNvSpPr/>
          <p:nvPr/>
        </p:nvSpPr>
        <p:spPr>
          <a:xfrm>
            <a:off x="10684075" y="6024938"/>
            <a:ext cx="52561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3633567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066AA-A8AE-31E6-0964-C94DC1B4BB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478AF703-78A2-5D02-9234-ABD0456E76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C44D7BD-9D3D-4F5C-F414-B8C3DDF44E04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etelma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B981F9E6-04CB-2656-E1FA-996F48E1E6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2725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A51ED8-C533-FA4D-D345-3D56122A20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A5C49F0-9A8D-4F85-0B98-8A88F0F3D7CB}"/>
              </a:ext>
            </a:extLst>
          </p:cNvPr>
          <p:cNvSpPr/>
          <p:nvPr/>
        </p:nvSpPr>
        <p:spPr>
          <a:xfrm>
            <a:off x="614760" y="2377460"/>
            <a:ext cx="10540920" cy="3845051"/>
          </a:xfrm>
          <a:prstGeom prst="rect">
            <a:avLst/>
          </a:prstGeom>
          <a:solidFill>
            <a:srgbClr val="EB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DFCB49-0651-0FAD-5B59-15939C3F8FEE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tkimusasetelm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EE3E0F2-1DA6-C33F-8E6E-835CE3CCE2B0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hahmotelmat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6DEFAFB-118F-F0F3-113D-4175EE842547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) Miten </a:t>
            </a:r>
            <a:r>
              <a:rPr kumimoji="0" lang="fi-FI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-kokemus vaikuttaa yrittäjäksi tai bisnesenkeliksi siirtymiseen ja näissä toimissa menestymiseen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4D7364-BFDC-EF93-A43F-EEBA157493AE}"/>
              </a:ext>
            </a:extLst>
          </p:cNvPr>
          <p:cNvSpPr/>
          <p:nvPr/>
        </p:nvSpPr>
        <p:spPr>
          <a:xfrm>
            <a:off x="4637907" y="3514186"/>
            <a:ext cx="6516520" cy="1193607"/>
          </a:xfrm>
          <a:prstGeom prst="rect">
            <a:avLst/>
          </a:prstGeom>
          <a:solidFill>
            <a:srgbClr val="C4E3E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7989A6-E0B1-37F4-21F8-30C6D4859AA2}"/>
              </a:ext>
            </a:extLst>
          </p:cNvPr>
          <p:cNvSpPr/>
          <p:nvPr/>
        </p:nvSpPr>
        <p:spPr>
          <a:xfrm>
            <a:off x="2296099" y="3514185"/>
            <a:ext cx="1377681" cy="27049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Explosion: 8 Points 7">
            <a:extLst>
              <a:ext uri="{FF2B5EF4-FFF2-40B4-BE49-F238E27FC236}">
                <a16:creationId xmlns:a16="http://schemas.microsoft.com/office/drawing/2014/main" id="{4FF356DE-5E2A-3FB9-7A8D-74E6C7368612}"/>
              </a:ext>
            </a:extLst>
          </p:cNvPr>
          <p:cNvSpPr/>
          <p:nvPr/>
        </p:nvSpPr>
        <p:spPr>
          <a:xfrm>
            <a:off x="3326242" y="4899696"/>
            <a:ext cx="812116" cy="812116"/>
          </a:xfrm>
          <a:prstGeom prst="irregularSeal1">
            <a:avLst/>
          </a:prstGeom>
          <a:solidFill>
            <a:srgbClr val="F8CE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FECEC58-97B3-8B1E-C6CA-0CEB32995A41}"/>
              </a:ext>
            </a:extLst>
          </p:cNvPr>
          <p:cNvCxnSpPr/>
          <p:nvPr/>
        </p:nvCxnSpPr>
        <p:spPr>
          <a:xfrm>
            <a:off x="2383108" y="5305754"/>
            <a:ext cx="1189171" cy="0"/>
          </a:xfrm>
          <a:prstGeom prst="straightConnector1">
            <a:avLst/>
          </a:prstGeom>
          <a:ln w="25400" cap="rnd">
            <a:solidFill>
              <a:schemeClr val="tx1"/>
            </a:solidFill>
            <a:round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407498BD-1697-4B43-2326-14B4CD121430}"/>
              </a:ext>
            </a:extLst>
          </p:cNvPr>
          <p:cNvSpPr/>
          <p:nvPr/>
        </p:nvSpPr>
        <p:spPr>
          <a:xfrm>
            <a:off x="2194598" y="5211499"/>
            <a:ext cx="188511" cy="188511"/>
          </a:xfrm>
          <a:prstGeom prst="ellipse">
            <a:avLst/>
          </a:prstGeom>
          <a:solidFill>
            <a:schemeClr val="tx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812BE5A-D1FD-006C-FED8-F9AA81750B18}"/>
              </a:ext>
            </a:extLst>
          </p:cNvPr>
          <p:cNvCxnSpPr>
            <a:cxnSpLocks/>
          </p:cNvCxnSpPr>
          <p:nvPr/>
        </p:nvCxnSpPr>
        <p:spPr>
          <a:xfrm>
            <a:off x="614760" y="5305754"/>
            <a:ext cx="1579838" cy="0"/>
          </a:xfrm>
          <a:prstGeom prst="straightConnector1">
            <a:avLst/>
          </a:prstGeom>
          <a:ln w="25400" cap="rnd">
            <a:solidFill>
              <a:schemeClr val="tx1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65AA06F-5CCD-C5E6-A7F1-5A609A34AD83}"/>
              </a:ext>
            </a:extLst>
          </p:cNvPr>
          <p:cNvSpPr txBox="1"/>
          <p:nvPr/>
        </p:nvSpPr>
        <p:spPr>
          <a:xfrm>
            <a:off x="614761" y="5378256"/>
            <a:ext cx="1579632" cy="460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emp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ö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ämä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11068E-14C7-20A1-F015-1F144EB60440}"/>
              </a:ext>
            </a:extLst>
          </p:cNvPr>
          <p:cNvSpPr txBox="1"/>
          <p:nvPr/>
        </p:nvSpPr>
        <p:spPr>
          <a:xfrm>
            <a:off x="2551167" y="5378256"/>
            <a:ext cx="867545" cy="4606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öissä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BA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lla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007BA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675B863-A01E-D9DE-7B7B-1042F98CB2A5}"/>
              </a:ext>
            </a:extLst>
          </p:cNvPr>
          <p:cNvSpPr/>
          <p:nvPr/>
        </p:nvSpPr>
        <p:spPr>
          <a:xfrm>
            <a:off x="4550905" y="4591671"/>
            <a:ext cx="188511" cy="188511"/>
          </a:xfrm>
          <a:prstGeom prst="ellipse">
            <a:avLst/>
          </a:prstGeom>
          <a:solidFill>
            <a:srgbClr val="007BA3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6C6B0D5-E028-2FF5-C67F-E53A7964BD15}"/>
              </a:ext>
            </a:extLst>
          </p:cNvPr>
          <p:cNvSpPr/>
          <p:nvPr/>
        </p:nvSpPr>
        <p:spPr>
          <a:xfrm>
            <a:off x="4543653" y="5929650"/>
            <a:ext cx="188511" cy="18851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2438A9CB-1DBC-490C-1CC1-31ABAC854638}"/>
              </a:ext>
            </a:extLst>
          </p:cNvPr>
          <p:cNvCxnSpPr>
            <a:cxnSpLocks/>
          </p:cNvCxnSpPr>
          <p:nvPr/>
        </p:nvCxnSpPr>
        <p:spPr>
          <a:xfrm>
            <a:off x="3739037" y="5378258"/>
            <a:ext cx="804616" cy="591213"/>
          </a:xfrm>
          <a:prstGeom prst="straightConnector1">
            <a:avLst/>
          </a:prstGeom>
          <a:ln w="25400" cap="rnd">
            <a:solidFill>
              <a:schemeClr val="tx1">
                <a:lumMod val="50000"/>
                <a:lumOff val="50000"/>
              </a:schemeClr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DFFC623-1164-A4EA-B72B-8C7A238F37C3}"/>
              </a:ext>
            </a:extLst>
          </p:cNvPr>
          <p:cNvSpPr txBox="1"/>
          <p:nvPr/>
        </p:nvSpPr>
        <p:spPr>
          <a:xfrm>
            <a:off x="4689701" y="6023905"/>
            <a:ext cx="5322021" cy="281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ömarkkin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status (pl.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rittäjä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ai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snesenkel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706166-329F-AE9A-AF74-D8649D92CF15}"/>
              </a:ext>
            </a:extLst>
          </p:cNvPr>
          <p:cNvSpPr txBox="1"/>
          <p:nvPr/>
        </p:nvSpPr>
        <p:spPr>
          <a:xfrm>
            <a:off x="4689701" y="4464596"/>
            <a:ext cx="2526141" cy="281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rittäjäk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ai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snesenkeliks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BA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8B9625A-12D5-B9E9-615B-A238F1BBAF45}"/>
              </a:ext>
            </a:extLst>
          </p:cNvPr>
          <p:cNvCxnSpPr>
            <a:cxnSpLocks/>
          </p:cNvCxnSpPr>
          <p:nvPr/>
        </p:nvCxnSpPr>
        <p:spPr>
          <a:xfrm>
            <a:off x="7215515" y="4594218"/>
            <a:ext cx="840872" cy="0"/>
          </a:xfrm>
          <a:prstGeom prst="straightConnector1">
            <a:avLst/>
          </a:prstGeom>
          <a:ln w="25400" cap="rnd">
            <a:solidFill>
              <a:srgbClr val="007BA3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47E2304-FEA9-B24F-35A5-BD564FAA8D5F}"/>
              </a:ext>
            </a:extLst>
          </p:cNvPr>
          <p:cNvCxnSpPr>
            <a:cxnSpLocks/>
          </p:cNvCxnSpPr>
          <p:nvPr/>
        </p:nvCxnSpPr>
        <p:spPr>
          <a:xfrm flipV="1">
            <a:off x="8913749" y="3725172"/>
            <a:ext cx="747109" cy="716942"/>
          </a:xfrm>
          <a:prstGeom prst="straightConnector1">
            <a:avLst/>
          </a:prstGeom>
          <a:ln w="25400" cap="rnd">
            <a:solidFill>
              <a:srgbClr val="007BA3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4551499-CB52-F37A-5FC9-767484B6A56A}"/>
              </a:ext>
            </a:extLst>
          </p:cNvPr>
          <p:cNvSpPr txBox="1"/>
          <p:nvPr/>
        </p:nvSpPr>
        <p:spPr>
          <a:xfrm>
            <a:off x="8056335" y="4464596"/>
            <a:ext cx="1445652" cy="281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viytyminen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AB21FD5-9DA9-3961-EE67-1DF4E3A35D9A}"/>
              </a:ext>
            </a:extLst>
          </p:cNvPr>
          <p:cNvSpPr txBox="1"/>
          <p:nvPr/>
        </p:nvSpPr>
        <p:spPr>
          <a:xfrm>
            <a:off x="9660892" y="3570497"/>
            <a:ext cx="758477" cy="281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svu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DEFB2E-82DA-4B97-20DB-1C040432260B}"/>
              </a:ext>
            </a:extLst>
          </p:cNvPr>
          <p:cNvSpPr txBox="1"/>
          <p:nvPr/>
        </p:nvSpPr>
        <p:spPr>
          <a:xfrm>
            <a:off x="2564984" y="3264527"/>
            <a:ext cx="839910" cy="281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ääke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C4CB5C8-9C00-6B05-1874-AADD1D4BDCE0}"/>
              </a:ext>
            </a:extLst>
          </p:cNvPr>
          <p:cNvSpPr txBox="1"/>
          <p:nvPr/>
        </p:nvSpPr>
        <p:spPr>
          <a:xfrm>
            <a:off x="4637906" y="3264527"/>
            <a:ext cx="6516520" cy="281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lemat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3A3F589C-AE16-B990-7E61-E23F0F907602}"/>
              </a:ext>
            </a:extLst>
          </p:cNvPr>
          <p:cNvSpPr/>
          <p:nvPr/>
        </p:nvSpPr>
        <p:spPr>
          <a:xfrm>
            <a:off x="3380036" y="3030850"/>
            <a:ext cx="3934999" cy="535159"/>
          </a:xfrm>
          <a:prstGeom prst="arc">
            <a:avLst>
              <a:gd name="adj1" fmla="val 10795817"/>
              <a:gd name="adj2" fmla="val 0"/>
            </a:avLst>
          </a:prstGeom>
          <a:ln w="25400" cap="rnd">
            <a:solidFill>
              <a:schemeClr val="tx1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3BC4BC7-8CB8-EFEF-2474-DAAC02FA825C}"/>
              </a:ext>
            </a:extLst>
          </p:cNvPr>
          <p:cNvSpPr txBox="1"/>
          <p:nvPr/>
        </p:nvSpPr>
        <p:spPr>
          <a:xfrm>
            <a:off x="5084721" y="2302304"/>
            <a:ext cx="525628" cy="7927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5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23C192A5-4FEC-8332-5302-4CD39199C437}"/>
              </a:ext>
            </a:extLst>
          </p:cNvPr>
          <p:cNvCxnSpPr>
            <a:cxnSpLocks/>
          </p:cNvCxnSpPr>
          <p:nvPr/>
        </p:nvCxnSpPr>
        <p:spPr>
          <a:xfrm flipV="1">
            <a:off x="3745117" y="4718866"/>
            <a:ext cx="798536" cy="535162"/>
          </a:xfrm>
          <a:prstGeom prst="straightConnector1">
            <a:avLst/>
          </a:prstGeom>
          <a:ln w="25400" cap="rnd">
            <a:solidFill>
              <a:schemeClr val="tx1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DC2DF0EF-073D-EAD9-E11B-E1EA7EED28A9}"/>
              </a:ext>
            </a:extLst>
          </p:cNvPr>
          <p:cNvSpPr/>
          <p:nvPr/>
        </p:nvSpPr>
        <p:spPr>
          <a:xfrm>
            <a:off x="3572279" y="5211499"/>
            <a:ext cx="188511" cy="188511"/>
          </a:xfrm>
          <a:prstGeom prst="ellipse">
            <a:avLst/>
          </a:prstGeom>
          <a:solidFill>
            <a:srgbClr val="ED7D3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0764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05FE1E-6873-46F6-F8C3-55B8EB5C6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BC7CA68-E46F-1A7C-D5A5-BAD18ACA1F67}"/>
              </a:ext>
            </a:extLst>
          </p:cNvPr>
          <p:cNvSpPr/>
          <p:nvPr/>
        </p:nvSpPr>
        <p:spPr>
          <a:xfrm>
            <a:off x="614760" y="2377460"/>
            <a:ext cx="10540920" cy="3845051"/>
          </a:xfrm>
          <a:prstGeom prst="rect">
            <a:avLst/>
          </a:prstGeom>
          <a:solidFill>
            <a:srgbClr val="EB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3D2C436-0E07-7782-7DD9-0A6174F2A14A}"/>
              </a:ext>
            </a:extLst>
          </p:cNvPr>
          <p:cNvCxnSpPr>
            <a:cxnSpLocks/>
          </p:cNvCxnSpPr>
          <p:nvPr/>
        </p:nvCxnSpPr>
        <p:spPr>
          <a:xfrm>
            <a:off x="2798554" y="4443225"/>
            <a:ext cx="1384663" cy="0"/>
          </a:xfrm>
          <a:prstGeom prst="straightConnector1">
            <a:avLst/>
          </a:prstGeom>
          <a:ln w="25400" cap="rnd">
            <a:solidFill>
              <a:schemeClr val="tx1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97EA758-4F26-94DE-4498-9585C9C19939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tkimusasetelm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00DAC9B-4E72-59DD-6FAB-F26B57B9DF4E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hahmotelmat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99810F3-0667-E3A6-232A-BEF207EF819A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b) Yrittäjyys/bisnesenkelistatusten määritte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CB52CB6-AD6B-6E62-374B-7A1CDCFA254C}"/>
              </a:ext>
            </a:extLst>
          </p:cNvPr>
          <p:cNvSpPr/>
          <p:nvPr/>
        </p:nvSpPr>
        <p:spPr>
          <a:xfrm>
            <a:off x="2137482" y="3632719"/>
            <a:ext cx="1396553" cy="1621012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EA65050-4B2B-6A55-DED6-1D1184FA2220}"/>
              </a:ext>
            </a:extLst>
          </p:cNvPr>
          <p:cNvCxnSpPr>
            <a:cxnSpLocks/>
          </p:cNvCxnSpPr>
          <p:nvPr/>
        </p:nvCxnSpPr>
        <p:spPr>
          <a:xfrm>
            <a:off x="622051" y="5255077"/>
            <a:ext cx="10532376" cy="0"/>
          </a:xfrm>
          <a:prstGeom prst="straightConnector1">
            <a:avLst/>
          </a:prstGeom>
          <a:ln w="25400" cap="rnd">
            <a:solidFill>
              <a:schemeClr val="tx1"/>
            </a:solidFill>
            <a:round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321B860-834A-79FC-912D-D8B6826C75E9}"/>
              </a:ext>
            </a:extLst>
          </p:cNvPr>
          <p:cNvSpPr txBox="1"/>
          <p:nvPr/>
        </p:nvSpPr>
        <p:spPr>
          <a:xfrm>
            <a:off x="1361058" y="5325830"/>
            <a:ext cx="157816" cy="2164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fi-FI" sz="1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1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4C2E15D-BA5F-EE7D-089E-51FC83CB02E6}"/>
              </a:ext>
            </a:extLst>
          </p:cNvPr>
          <p:cNvCxnSpPr>
            <a:cxnSpLocks/>
          </p:cNvCxnSpPr>
          <p:nvPr/>
        </p:nvCxnSpPr>
        <p:spPr>
          <a:xfrm>
            <a:off x="4933756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805C70D-28F5-6FA4-3897-DCE0730C1B6D}"/>
              </a:ext>
            </a:extLst>
          </p:cNvPr>
          <p:cNvCxnSpPr>
            <a:cxnSpLocks/>
          </p:cNvCxnSpPr>
          <p:nvPr/>
        </p:nvCxnSpPr>
        <p:spPr>
          <a:xfrm>
            <a:off x="6331272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386E3B4-666D-BADF-F75D-5097322EBEF7}"/>
              </a:ext>
            </a:extLst>
          </p:cNvPr>
          <p:cNvCxnSpPr>
            <a:cxnSpLocks/>
          </p:cNvCxnSpPr>
          <p:nvPr/>
        </p:nvCxnSpPr>
        <p:spPr>
          <a:xfrm>
            <a:off x="7728788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4A21521-D3FC-04C6-7C4D-5FD7AA57B96A}"/>
              </a:ext>
            </a:extLst>
          </p:cNvPr>
          <p:cNvCxnSpPr>
            <a:cxnSpLocks/>
          </p:cNvCxnSpPr>
          <p:nvPr/>
        </p:nvCxnSpPr>
        <p:spPr>
          <a:xfrm>
            <a:off x="3536240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7B77624-F76A-6B73-3820-88C64CAE3E3E}"/>
              </a:ext>
            </a:extLst>
          </p:cNvPr>
          <p:cNvCxnSpPr>
            <a:cxnSpLocks/>
          </p:cNvCxnSpPr>
          <p:nvPr/>
        </p:nvCxnSpPr>
        <p:spPr>
          <a:xfrm>
            <a:off x="2138724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2657037-E755-2AD6-E083-C13C24658C60}"/>
              </a:ext>
            </a:extLst>
          </p:cNvPr>
          <p:cNvCxnSpPr>
            <a:cxnSpLocks/>
          </p:cNvCxnSpPr>
          <p:nvPr/>
        </p:nvCxnSpPr>
        <p:spPr>
          <a:xfrm>
            <a:off x="741208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3BF7630-7D80-E0AA-A801-45D0B9311039}"/>
              </a:ext>
            </a:extLst>
          </p:cNvPr>
          <p:cNvSpPr txBox="1"/>
          <p:nvPr/>
        </p:nvSpPr>
        <p:spPr>
          <a:xfrm>
            <a:off x="2776892" y="5325830"/>
            <a:ext cx="121180" cy="2164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fi-FI" sz="1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45D6327-45C3-53B7-BF36-289A0C71D569}"/>
              </a:ext>
            </a:extLst>
          </p:cNvPr>
          <p:cNvSpPr txBox="1"/>
          <p:nvPr/>
        </p:nvSpPr>
        <p:spPr>
          <a:xfrm>
            <a:off x="4144817" y="5325830"/>
            <a:ext cx="180362" cy="2164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fi-FI" sz="1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C907083-3EE5-B90D-EC16-DC20BF3972C6}"/>
              </a:ext>
            </a:extLst>
          </p:cNvPr>
          <p:cNvSpPr txBox="1"/>
          <p:nvPr/>
        </p:nvSpPr>
        <p:spPr>
          <a:xfrm>
            <a:off x="5542333" y="5325830"/>
            <a:ext cx="180362" cy="2164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fi-FI" sz="1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2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ight Brace 42">
            <a:extLst>
              <a:ext uri="{FF2B5EF4-FFF2-40B4-BE49-F238E27FC236}">
                <a16:creationId xmlns:a16="http://schemas.microsoft.com/office/drawing/2014/main" id="{C4D9B946-5FA1-D06A-873F-FAD9772C7103}"/>
              </a:ext>
            </a:extLst>
          </p:cNvPr>
          <p:cNvSpPr/>
          <p:nvPr/>
        </p:nvSpPr>
        <p:spPr>
          <a:xfrm rot="5400000" flipV="1">
            <a:off x="1383404" y="4969626"/>
            <a:ext cx="113969" cy="1396413"/>
          </a:xfrm>
          <a:prstGeom prst="rightBrace">
            <a:avLst>
              <a:gd name="adj1" fmla="val 49287"/>
              <a:gd name="adj2" fmla="val 50000"/>
            </a:avLst>
          </a:prstGeom>
          <a:ln w="19050">
            <a:solidFill>
              <a:srgbClr val="007B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4E2516D-0962-235A-5558-8F947C86B00B}"/>
              </a:ext>
            </a:extLst>
          </p:cNvPr>
          <p:cNvSpPr txBox="1"/>
          <p:nvPr/>
        </p:nvSpPr>
        <p:spPr>
          <a:xfrm>
            <a:off x="1098949" y="5753672"/>
            <a:ext cx="682880" cy="49244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öissä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BA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lla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007BA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ight Brace 44">
            <a:extLst>
              <a:ext uri="{FF2B5EF4-FFF2-40B4-BE49-F238E27FC236}">
                <a16:creationId xmlns:a16="http://schemas.microsoft.com/office/drawing/2014/main" id="{12D8CE80-077D-AED1-E27C-A2697429F983}"/>
              </a:ext>
            </a:extLst>
          </p:cNvPr>
          <p:cNvSpPr/>
          <p:nvPr/>
        </p:nvSpPr>
        <p:spPr>
          <a:xfrm rot="5400000" flipV="1">
            <a:off x="2779817" y="4969626"/>
            <a:ext cx="113969" cy="1396413"/>
          </a:xfrm>
          <a:prstGeom prst="rightBrace">
            <a:avLst>
              <a:gd name="adj1" fmla="val 49287"/>
              <a:gd name="adj2" fmla="val 50000"/>
            </a:avLst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DE437D4-D126-DC36-1C4B-4564BB6D9E8C}"/>
              </a:ext>
            </a:extLst>
          </p:cNvPr>
          <p:cNvSpPr txBox="1"/>
          <p:nvPr/>
        </p:nvSpPr>
        <p:spPr>
          <a:xfrm>
            <a:off x="2362634" y="5753689"/>
            <a:ext cx="948337" cy="49244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uto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ksess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ight Brace 46">
            <a:extLst>
              <a:ext uri="{FF2B5EF4-FFF2-40B4-BE49-F238E27FC236}">
                <a16:creationId xmlns:a16="http://schemas.microsoft.com/office/drawing/2014/main" id="{87A12F94-15EA-240F-36D7-F9CC3C5AFBFA}"/>
              </a:ext>
            </a:extLst>
          </p:cNvPr>
          <p:cNvSpPr/>
          <p:nvPr/>
        </p:nvSpPr>
        <p:spPr>
          <a:xfrm rot="5400000" flipV="1">
            <a:off x="4187989" y="4965524"/>
            <a:ext cx="113969" cy="1396413"/>
          </a:xfrm>
          <a:prstGeom prst="rightBrace">
            <a:avLst>
              <a:gd name="adj1" fmla="val 49287"/>
              <a:gd name="adj2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0AD4F6C-F304-145F-0AD7-02548DC6D56A}"/>
              </a:ext>
            </a:extLst>
          </p:cNvPr>
          <p:cNvSpPr txBox="1"/>
          <p:nvPr/>
        </p:nvSpPr>
        <p:spPr>
          <a:xfrm>
            <a:off x="3903536" y="5749571"/>
            <a:ext cx="682879" cy="49244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öissä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lla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842FE07-DEB1-839F-FCF7-3E7E4238F8CF}"/>
              </a:ext>
            </a:extLst>
          </p:cNvPr>
          <p:cNvSpPr txBox="1"/>
          <p:nvPr/>
        </p:nvSpPr>
        <p:spPr>
          <a:xfrm>
            <a:off x="2149373" y="4270926"/>
            <a:ext cx="1384662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uto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E0FA53A-DD09-8F63-D770-269C20CB66C7}"/>
              </a:ext>
            </a:extLst>
          </p:cNvPr>
          <p:cNvSpPr txBox="1"/>
          <p:nvPr/>
        </p:nvSpPr>
        <p:spPr>
          <a:xfrm>
            <a:off x="4469791" y="3750661"/>
            <a:ext cx="6749733" cy="123110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Yrittäjä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/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bisnesenkeli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statu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hetkenä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t</a:t>
            </a:r>
            <a:r>
              <a:rPr kumimoji="0" lang="en-US" sz="1200" b="0" i="1" u="none" strike="noStrike" kern="1200" cap="none" spc="0" normalizeH="0" baseline="-2500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0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tai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t</a:t>
            </a:r>
            <a:r>
              <a:rPr kumimoji="0" lang="en-US" sz="1200" b="0" i="1" u="none" strike="noStrike" kern="1200" cap="none" spc="0" normalizeH="0" baseline="-2500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j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useamp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all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päte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ni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luokitelt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en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mainittuu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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Startu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-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yrittäjä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AD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omista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vähintää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10 %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pienestä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j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nuorest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oy:stä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joss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työskentele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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Mu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yrittäjä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omista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vähintää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10 %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oy:stä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joss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työskentele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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Ammatinharjoittaj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työmarkkinastatuksen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ammat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- ta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elinkeinonharjoittaj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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BA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Bisnesenkel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79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(</a:t>
            </a: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omistaa vähintään 10 % oy:stä, mutta ei työskentele siinä)</a:t>
            </a:r>
          </a:p>
        </p:txBody>
      </p:sp>
      <p:sp>
        <p:nvSpPr>
          <p:cNvPr id="52" name="Right Brace 51">
            <a:extLst>
              <a:ext uri="{FF2B5EF4-FFF2-40B4-BE49-F238E27FC236}">
                <a16:creationId xmlns:a16="http://schemas.microsoft.com/office/drawing/2014/main" id="{33D1FD44-D1FA-959D-8684-564B6059AEE8}"/>
              </a:ext>
            </a:extLst>
          </p:cNvPr>
          <p:cNvSpPr/>
          <p:nvPr/>
        </p:nvSpPr>
        <p:spPr>
          <a:xfrm rot="10800000">
            <a:off x="4242317" y="3899595"/>
            <a:ext cx="177933" cy="1082172"/>
          </a:xfrm>
          <a:prstGeom prst="rightBrace">
            <a:avLst>
              <a:gd name="adj1" fmla="val 49287"/>
              <a:gd name="adj2" fmla="val 50000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F1FCF38-F975-B44B-C263-B6EEB9FB2C3B}"/>
              </a:ext>
            </a:extLst>
          </p:cNvPr>
          <p:cNvSpPr txBox="1"/>
          <p:nvPr/>
        </p:nvSpPr>
        <p:spPr>
          <a:xfrm>
            <a:off x="6939849" y="5325830"/>
            <a:ext cx="180362" cy="2164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fi-FI" sz="1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3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C5BBD63-18D3-DA74-D9EF-B2AA348861BF}"/>
              </a:ext>
            </a:extLst>
          </p:cNvPr>
          <p:cNvCxnSpPr>
            <a:cxnSpLocks/>
          </p:cNvCxnSpPr>
          <p:nvPr/>
        </p:nvCxnSpPr>
        <p:spPr>
          <a:xfrm>
            <a:off x="9126302" y="5198093"/>
            <a:ext cx="0" cy="113969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1D7546A2-F49C-B875-40C6-2BF0BAE234D6}"/>
              </a:ext>
            </a:extLst>
          </p:cNvPr>
          <p:cNvSpPr txBox="1"/>
          <p:nvPr/>
        </p:nvSpPr>
        <p:spPr>
          <a:xfrm>
            <a:off x="8337364" y="5325830"/>
            <a:ext cx="180362" cy="21643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</a:t>
            </a:r>
            <a:r>
              <a:rPr kumimoji="0" lang="fi-FI" sz="16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4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ight Brace 55">
            <a:extLst>
              <a:ext uri="{FF2B5EF4-FFF2-40B4-BE49-F238E27FC236}">
                <a16:creationId xmlns:a16="http://schemas.microsoft.com/office/drawing/2014/main" id="{06118409-95C5-ECD9-5CF4-02ED155018EC}"/>
              </a:ext>
            </a:extLst>
          </p:cNvPr>
          <p:cNvSpPr/>
          <p:nvPr/>
        </p:nvSpPr>
        <p:spPr>
          <a:xfrm rot="16200000" flipV="1">
            <a:off x="5462584" y="1327686"/>
            <a:ext cx="337654" cy="4194754"/>
          </a:xfrm>
          <a:prstGeom prst="rightBrace">
            <a:avLst>
              <a:gd name="adj1" fmla="val 49287"/>
              <a:gd name="adj2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FA38B7C-4A65-EF6D-898D-FE4A7D7FDE10}"/>
              </a:ext>
            </a:extLst>
          </p:cNvPr>
          <p:cNvSpPr txBox="1"/>
          <p:nvPr/>
        </p:nvSpPr>
        <p:spPr>
          <a:xfrm>
            <a:off x="5006626" y="2562630"/>
            <a:ext cx="1249570" cy="64930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Tulema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Symbol" panose="05050102010706020507" pitchFamily="18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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Selviytymine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Symbol" panose="05050102010706020507" pitchFamily="18" charset="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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Yritykse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Symbol" panose="05050102010706020507" pitchFamily="18" charset="2"/>
              </a:rPr>
              <a:t>kasvu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Symbol" panose="05050102010706020507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534808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light&#10;&#10;AI-generated content may be incorrect.">
            <a:extLst>
              <a:ext uri="{FF2B5EF4-FFF2-40B4-BE49-F238E27FC236}">
                <a16:creationId xmlns:a16="http://schemas.microsoft.com/office/drawing/2014/main" id="{BB4EA2D4-1CEF-1368-604B-152265656F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DEF07B8-1FAF-5096-B8D2-08EE91E73DC0}"/>
              </a:ext>
            </a:extLst>
          </p:cNvPr>
          <p:cNvSpPr/>
          <p:nvPr/>
        </p:nvSpPr>
        <p:spPr>
          <a:xfrm>
            <a:off x="0" y="0"/>
            <a:ext cx="4848892" cy="6858000"/>
          </a:xfrm>
          <a:prstGeom prst="rect">
            <a:avLst/>
          </a:prstGeom>
          <a:solidFill>
            <a:srgbClr val="0949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290AAF-180C-EB8C-344F-9892E22CE8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42910" y="2107666"/>
            <a:ext cx="4934712" cy="1004507"/>
          </a:xfrm>
        </p:spPr>
        <p:txBody>
          <a:bodyPr>
            <a:normAutofit/>
          </a:bodyPr>
          <a:lstStyle/>
          <a:p>
            <a:r>
              <a:rPr lang="fi-FI" sz="5400" dirty="0">
                <a:solidFill>
                  <a:schemeClr val="bg1"/>
                </a:solidFill>
              </a:rPr>
              <a:t>Tytti Sulander</a:t>
            </a:r>
            <a:endParaRPr lang="LID4096" sz="54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F747BA-B5FE-D6E1-8373-ED1D378F27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8282" y="3303151"/>
            <a:ext cx="4572327" cy="885354"/>
          </a:xfrm>
        </p:spPr>
        <p:txBody>
          <a:bodyPr/>
          <a:lstStyle/>
          <a:p>
            <a:r>
              <a:rPr lang="fi-FI" dirty="0">
                <a:solidFill>
                  <a:schemeClr val="bg1"/>
                </a:solidFill>
              </a:rPr>
              <a:t>viestintäjohtaja</a:t>
            </a:r>
          </a:p>
          <a:p>
            <a:r>
              <a:rPr lang="fi-FI" dirty="0">
                <a:solidFill>
                  <a:schemeClr val="bg1"/>
                </a:solidFill>
              </a:rPr>
              <a:t>Etla</a:t>
            </a:r>
            <a:endParaRPr lang="LID4096" dirty="0">
              <a:solidFill>
                <a:schemeClr val="bg1"/>
              </a:solidFill>
            </a:endParaRPr>
          </a:p>
        </p:txBody>
      </p:sp>
      <p:pic>
        <p:nvPicPr>
          <p:cNvPr id="5" name="Picture 4" descr="A person in a green coat&#10;&#10;AI-generated content may be incorrect.">
            <a:extLst>
              <a:ext uri="{FF2B5EF4-FFF2-40B4-BE49-F238E27FC236}">
                <a16:creationId xmlns:a16="http://schemas.microsoft.com/office/drawing/2014/main" id="{9CC409E8-98DE-583B-8F89-79F61F79ADE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" b="33197"/>
          <a:stretch/>
        </p:blipFill>
        <p:spPr>
          <a:xfrm>
            <a:off x="6074545" y="644817"/>
            <a:ext cx="4934712" cy="493471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085223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45EC68-006B-1B7C-D977-8F6578722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101DBCA-A8D7-D935-CF57-C1FA8CAC9922}"/>
              </a:ext>
            </a:extLst>
          </p:cNvPr>
          <p:cNvSpPr/>
          <p:nvPr/>
        </p:nvSpPr>
        <p:spPr>
          <a:xfrm>
            <a:off x="614760" y="2377460"/>
            <a:ext cx="10540920" cy="3845051"/>
          </a:xfrm>
          <a:prstGeom prst="rect">
            <a:avLst/>
          </a:prstGeom>
          <a:solidFill>
            <a:srgbClr val="EB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3BC143-D96D-DCEF-ACF8-553EEDAC2A09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tkimusasetelm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42AE03F-CF1D-0FAA-6862-E00F947959CB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hahmotelmat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8F601EC-74C5-C4C1-0867-9F8807C39E04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c) </a:t>
            </a:r>
            <a:r>
              <a:rPr kumimoji="0" lang="fi-FI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Nokia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-lähtöisten yrittäjien ja bisnesenkeleiden ”vuosikerrat” (kohortit) käytetyssä aineistossa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1A30F78-0707-6940-BF58-F6794CF84099}"/>
              </a:ext>
            </a:extLst>
          </p:cNvPr>
          <p:cNvCxnSpPr>
            <a:cxnSpLocks/>
          </p:cNvCxnSpPr>
          <p:nvPr/>
        </p:nvCxnSpPr>
        <p:spPr>
          <a:xfrm>
            <a:off x="622159" y="5436821"/>
            <a:ext cx="10532268" cy="0"/>
          </a:xfrm>
          <a:prstGeom prst="straightConnector1">
            <a:avLst/>
          </a:prstGeom>
          <a:ln w="19050" cap="rnd">
            <a:solidFill>
              <a:schemeClr val="tx1"/>
            </a:solidFill>
            <a:round/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A35DD25-22D9-36BF-837B-DE5F9952579E}"/>
              </a:ext>
            </a:extLst>
          </p:cNvPr>
          <p:cNvSpPr txBox="1"/>
          <p:nvPr/>
        </p:nvSpPr>
        <p:spPr>
          <a:xfrm>
            <a:off x="3842116" y="5947761"/>
            <a:ext cx="1051570" cy="234038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2008–2014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FCC14310-72AB-29B5-5FCF-A246AECC293C}"/>
              </a:ext>
            </a:extLst>
          </p:cNvPr>
          <p:cNvSpPr/>
          <p:nvPr/>
        </p:nvSpPr>
        <p:spPr>
          <a:xfrm rot="5400000" flipV="1">
            <a:off x="4275517" y="3384830"/>
            <a:ext cx="184772" cy="4767735"/>
          </a:xfrm>
          <a:prstGeom prst="rightBrace">
            <a:avLst>
              <a:gd name="adj1" fmla="val 46848"/>
              <a:gd name="adj2" fmla="val 50000"/>
            </a:avLst>
          </a:prstGeom>
          <a:ln w="19050" cap="rnd">
            <a:solidFill>
              <a:srgbClr val="ED7D3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DDDDBB-D3B7-AF69-D418-84BC155B0F6F}"/>
              </a:ext>
            </a:extLst>
          </p:cNvPr>
          <p:cNvCxnSpPr>
            <a:cxnSpLocks/>
          </p:cNvCxnSpPr>
          <p:nvPr/>
        </p:nvCxnSpPr>
        <p:spPr>
          <a:xfrm flipV="1">
            <a:off x="1984035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73809F-2364-7AAF-2F7E-B3F87860EC39}"/>
              </a:ext>
            </a:extLst>
          </p:cNvPr>
          <p:cNvCxnSpPr>
            <a:cxnSpLocks/>
          </p:cNvCxnSpPr>
          <p:nvPr/>
        </p:nvCxnSpPr>
        <p:spPr>
          <a:xfrm flipV="1">
            <a:off x="3346245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764631-54A4-55B1-1125-7230AC5F8629}"/>
              </a:ext>
            </a:extLst>
          </p:cNvPr>
          <p:cNvCxnSpPr>
            <a:cxnSpLocks/>
          </p:cNvCxnSpPr>
          <p:nvPr/>
        </p:nvCxnSpPr>
        <p:spPr>
          <a:xfrm flipV="1">
            <a:off x="4708454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D7094BC-F866-89C3-EE58-521C73576E1F}"/>
              </a:ext>
            </a:extLst>
          </p:cNvPr>
          <p:cNvCxnSpPr>
            <a:cxnSpLocks/>
          </p:cNvCxnSpPr>
          <p:nvPr/>
        </p:nvCxnSpPr>
        <p:spPr>
          <a:xfrm flipV="1">
            <a:off x="6070664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0411911-28AE-0537-BD99-68CCBAC9EDC1}"/>
              </a:ext>
            </a:extLst>
          </p:cNvPr>
          <p:cNvCxnSpPr>
            <a:cxnSpLocks/>
          </p:cNvCxnSpPr>
          <p:nvPr/>
        </p:nvCxnSpPr>
        <p:spPr>
          <a:xfrm flipV="1">
            <a:off x="7432874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593E58F-B884-961A-B3BE-7C1E0CDD6FD4}"/>
              </a:ext>
            </a:extLst>
          </p:cNvPr>
          <p:cNvCxnSpPr>
            <a:cxnSpLocks/>
          </p:cNvCxnSpPr>
          <p:nvPr/>
        </p:nvCxnSpPr>
        <p:spPr>
          <a:xfrm flipV="1">
            <a:off x="8795083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F2656CB-C20D-5DDC-9A06-A2B0FA7B26CB}"/>
              </a:ext>
            </a:extLst>
          </p:cNvPr>
          <p:cNvCxnSpPr>
            <a:cxnSpLocks/>
          </p:cNvCxnSpPr>
          <p:nvPr/>
        </p:nvCxnSpPr>
        <p:spPr>
          <a:xfrm flipV="1">
            <a:off x="2665140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B0C2A79-7763-71B3-2096-02625681EBFE}"/>
              </a:ext>
            </a:extLst>
          </p:cNvPr>
          <p:cNvCxnSpPr>
            <a:cxnSpLocks/>
          </p:cNvCxnSpPr>
          <p:nvPr/>
        </p:nvCxnSpPr>
        <p:spPr>
          <a:xfrm flipV="1">
            <a:off x="4027350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E5C9E8D-8CDA-D8EF-F6C6-067A072514F9}"/>
              </a:ext>
            </a:extLst>
          </p:cNvPr>
          <p:cNvCxnSpPr>
            <a:cxnSpLocks/>
          </p:cNvCxnSpPr>
          <p:nvPr/>
        </p:nvCxnSpPr>
        <p:spPr>
          <a:xfrm flipV="1">
            <a:off x="5389559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4EB3C55-8F69-7DDB-3221-ADE245AF0EE5}"/>
              </a:ext>
            </a:extLst>
          </p:cNvPr>
          <p:cNvCxnSpPr>
            <a:cxnSpLocks/>
          </p:cNvCxnSpPr>
          <p:nvPr/>
        </p:nvCxnSpPr>
        <p:spPr>
          <a:xfrm flipV="1">
            <a:off x="6751769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D85D197-B60A-A22F-84B6-F65996833DC0}"/>
              </a:ext>
            </a:extLst>
          </p:cNvPr>
          <p:cNvCxnSpPr>
            <a:cxnSpLocks/>
          </p:cNvCxnSpPr>
          <p:nvPr/>
        </p:nvCxnSpPr>
        <p:spPr>
          <a:xfrm flipV="1">
            <a:off x="8113979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17101FE-3C3C-ADF9-83A2-FA94E2A2D146}"/>
              </a:ext>
            </a:extLst>
          </p:cNvPr>
          <p:cNvCxnSpPr>
            <a:cxnSpLocks/>
          </p:cNvCxnSpPr>
          <p:nvPr/>
        </p:nvCxnSpPr>
        <p:spPr>
          <a:xfrm flipV="1">
            <a:off x="9476188" y="5390557"/>
            <a:ext cx="0" cy="92528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7FB8F33-C4A2-C7FB-58F7-EEE6A7640B0B}"/>
              </a:ext>
            </a:extLst>
          </p:cNvPr>
          <p:cNvGrpSpPr/>
          <p:nvPr/>
        </p:nvGrpSpPr>
        <p:grpSpPr>
          <a:xfrm>
            <a:off x="1302916" y="5390557"/>
            <a:ext cx="681113" cy="92528"/>
            <a:chOff x="9372802" y="2698716"/>
            <a:chExt cx="519663" cy="92528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055ED15-4778-FAD4-A02F-BA87494E1B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72802" y="2698716"/>
              <a:ext cx="0" cy="92528"/>
            </a:xfrm>
            <a:prstGeom prst="line">
              <a:avLst/>
            </a:prstGeom>
            <a:ln w="1905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3FE205F9-B793-EBF4-8B99-F56FCD8C34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92465" y="2698716"/>
              <a:ext cx="0" cy="92528"/>
            </a:xfrm>
            <a:prstGeom prst="line">
              <a:avLst/>
            </a:prstGeom>
            <a:ln w="1905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DB8707A-146D-8D5E-61C7-8C469D36A9D2}"/>
              </a:ext>
            </a:extLst>
          </p:cNvPr>
          <p:cNvGrpSpPr/>
          <p:nvPr/>
        </p:nvGrpSpPr>
        <p:grpSpPr>
          <a:xfrm>
            <a:off x="1984034" y="4897000"/>
            <a:ext cx="2738141" cy="326895"/>
            <a:chOff x="1984034" y="4592433"/>
            <a:chExt cx="2738141" cy="266899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ECFAE6F-9AE2-86EC-DECE-FADFA5DA3FE3}"/>
                </a:ext>
              </a:extLst>
            </p:cNvPr>
            <p:cNvSpPr/>
            <p:nvPr/>
          </p:nvSpPr>
          <p:spPr>
            <a:xfrm>
              <a:off x="1984034" y="4592433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900D329-74D2-0450-AAAF-974EC3CF8086}"/>
                </a:ext>
              </a:extLst>
            </p:cNvPr>
            <p:cNvSpPr/>
            <p:nvPr/>
          </p:nvSpPr>
          <p:spPr>
            <a:xfrm>
              <a:off x="2665140" y="4594449"/>
              <a:ext cx="2057035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70C7DDE6-D3E7-6682-250E-8AD840EC106A}"/>
              </a:ext>
            </a:extLst>
          </p:cNvPr>
          <p:cNvGrpSpPr/>
          <p:nvPr/>
        </p:nvGrpSpPr>
        <p:grpSpPr>
          <a:xfrm>
            <a:off x="2673169" y="4510912"/>
            <a:ext cx="2724575" cy="326895"/>
            <a:chOff x="2673169" y="4243705"/>
            <a:chExt cx="2724575" cy="266899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A5C1A51-3DFA-9621-ED12-29AF8B24F3CC}"/>
                </a:ext>
              </a:extLst>
            </p:cNvPr>
            <p:cNvSpPr/>
            <p:nvPr/>
          </p:nvSpPr>
          <p:spPr>
            <a:xfrm>
              <a:off x="2673169" y="4243705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67B0B3D1-37AB-A8BB-2148-DDEFCACBD2C3}"/>
                </a:ext>
              </a:extLst>
            </p:cNvPr>
            <p:cNvSpPr/>
            <p:nvPr/>
          </p:nvSpPr>
          <p:spPr>
            <a:xfrm>
              <a:off x="3356837" y="4245722"/>
              <a:ext cx="2040907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6218096-7836-1277-1B6D-F840D54A1A88}"/>
              </a:ext>
            </a:extLst>
          </p:cNvPr>
          <p:cNvGrpSpPr/>
          <p:nvPr/>
        </p:nvGrpSpPr>
        <p:grpSpPr>
          <a:xfrm>
            <a:off x="3346245" y="4124822"/>
            <a:ext cx="2724419" cy="326895"/>
            <a:chOff x="3346245" y="3894981"/>
            <a:chExt cx="2724419" cy="266899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BEBC0B73-8C50-F5E6-E5E0-D8CC1C1FACEE}"/>
                </a:ext>
              </a:extLst>
            </p:cNvPr>
            <p:cNvSpPr/>
            <p:nvPr/>
          </p:nvSpPr>
          <p:spPr>
            <a:xfrm>
              <a:off x="3346245" y="3894981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553E4506-3827-CDB9-17D4-7837C1479B80}"/>
                </a:ext>
              </a:extLst>
            </p:cNvPr>
            <p:cNvSpPr/>
            <p:nvPr/>
          </p:nvSpPr>
          <p:spPr>
            <a:xfrm>
              <a:off x="4029757" y="3896997"/>
              <a:ext cx="2040907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FDF6C19F-8C5E-CA58-3E71-93BC7CC96EA6}"/>
              </a:ext>
            </a:extLst>
          </p:cNvPr>
          <p:cNvGrpSpPr/>
          <p:nvPr/>
        </p:nvGrpSpPr>
        <p:grpSpPr>
          <a:xfrm>
            <a:off x="4035380" y="3738732"/>
            <a:ext cx="2722012" cy="326895"/>
            <a:chOff x="4035380" y="3546256"/>
            <a:chExt cx="2722012" cy="266899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688B5B2-C4A3-F8A9-A6AC-9541EC77E9D7}"/>
                </a:ext>
              </a:extLst>
            </p:cNvPr>
            <p:cNvSpPr/>
            <p:nvPr/>
          </p:nvSpPr>
          <p:spPr>
            <a:xfrm>
              <a:off x="4035380" y="3546256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19F5588-D922-4FF1-A9AA-1BD27D119E2E}"/>
                </a:ext>
              </a:extLst>
            </p:cNvPr>
            <p:cNvSpPr/>
            <p:nvPr/>
          </p:nvSpPr>
          <p:spPr>
            <a:xfrm>
              <a:off x="4716485" y="3548272"/>
              <a:ext cx="2040907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DB95056-41BE-4B57-1D23-F846BE4955AB}"/>
              </a:ext>
            </a:extLst>
          </p:cNvPr>
          <p:cNvGrpSpPr/>
          <p:nvPr/>
        </p:nvGrpSpPr>
        <p:grpSpPr>
          <a:xfrm>
            <a:off x="4708454" y="3352642"/>
            <a:ext cx="2724419" cy="326895"/>
            <a:chOff x="4708454" y="3197531"/>
            <a:chExt cx="2724419" cy="266899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ABADD5D-62DD-0CDE-856A-7ABF7DFB5CB4}"/>
                </a:ext>
              </a:extLst>
            </p:cNvPr>
            <p:cNvSpPr/>
            <p:nvPr/>
          </p:nvSpPr>
          <p:spPr>
            <a:xfrm>
              <a:off x="4708454" y="3197531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9CE5719-BA45-2294-BA59-BB6D17E425E6}"/>
                </a:ext>
              </a:extLst>
            </p:cNvPr>
            <p:cNvSpPr/>
            <p:nvPr/>
          </p:nvSpPr>
          <p:spPr>
            <a:xfrm>
              <a:off x="5391966" y="3199548"/>
              <a:ext cx="2040907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357DE8E-208D-55D1-AB90-1757C590FB96}"/>
              </a:ext>
            </a:extLst>
          </p:cNvPr>
          <p:cNvGrpSpPr/>
          <p:nvPr/>
        </p:nvGrpSpPr>
        <p:grpSpPr>
          <a:xfrm>
            <a:off x="5397590" y="2966552"/>
            <a:ext cx="2713981" cy="326895"/>
            <a:chOff x="5397590" y="2848807"/>
            <a:chExt cx="2713981" cy="266899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44AA1ED6-5C55-CE91-833C-75C976D3BD03}"/>
                </a:ext>
              </a:extLst>
            </p:cNvPr>
            <p:cNvSpPr/>
            <p:nvPr/>
          </p:nvSpPr>
          <p:spPr>
            <a:xfrm>
              <a:off x="5397590" y="2848807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F0D8006E-6ACB-5E6B-63CA-35DAF34CCEC5}"/>
                </a:ext>
              </a:extLst>
            </p:cNvPr>
            <p:cNvSpPr/>
            <p:nvPr/>
          </p:nvSpPr>
          <p:spPr>
            <a:xfrm>
              <a:off x="6070664" y="2850823"/>
              <a:ext cx="2040907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93FEC5C-F329-4764-3AC5-371AA34B559E}"/>
              </a:ext>
            </a:extLst>
          </p:cNvPr>
          <p:cNvGrpSpPr/>
          <p:nvPr/>
        </p:nvGrpSpPr>
        <p:grpSpPr>
          <a:xfrm>
            <a:off x="6081102" y="2580462"/>
            <a:ext cx="2713981" cy="326895"/>
            <a:chOff x="6081102" y="2496131"/>
            <a:chExt cx="2713981" cy="266899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F1EF0E6-B73A-81A6-2B13-2655A6F258EB}"/>
                </a:ext>
              </a:extLst>
            </p:cNvPr>
            <p:cNvSpPr/>
            <p:nvPr/>
          </p:nvSpPr>
          <p:spPr>
            <a:xfrm>
              <a:off x="6081102" y="2496131"/>
              <a:ext cx="681105" cy="266899"/>
            </a:xfrm>
            <a:prstGeom prst="rect">
              <a:avLst/>
            </a:prstGeom>
            <a:solidFill>
              <a:srgbClr val="ED7D3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10F8748-3792-F62A-CC2A-84703439847C}"/>
                </a:ext>
              </a:extLst>
            </p:cNvPr>
            <p:cNvSpPr/>
            <p:nvPr/>
          </p:nvSpPr>
          <p:spPr>
            <a:xfrm>
              <a:off x="6754176" y="2498147"/>
              <a:ext cx="2040907" cy="262868"/>
            </a:xfrm>
            <a:prstGeom prst="rect">
              <a:avLst/>
            </a:prstGeom>
            <a:solidFill>
              <a:srgbClr val="007BA3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4DD2B632-4ACE-C2BF-FACF-8227522A60B1}"/>
              </a:ext>
            </a:extLst>
          </p:cNvPr>
          <p:cNvSpPr txBox="1"/>
          <p:nvPr/>
        </p:nvSpPr>
        <p:spPr>
          <a:xfrm>
            <a:off x="8147781" y="5655600"/>
            <a:ext cx="613501" cy="23403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24646419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A7C19B-BEFD-5731-4A93-4E006D79A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4F6C7DB6-285E-EF1C-B384-C8EDD292AB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096B09-BF69-B2BB-FDFE-09337657F0CD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merot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754182C0-085F-9E74-9DD6-7A0A4F7B9B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1914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8C9D76-F842-9EB4-7F64-678096241D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D2A8274-2F8C-6598-6383-3A61E6C8EE87}"/>
              </a:ext>
            </a:extLst>
          </p:cNvPr>
          <p:cNvSpPr/>
          <p:nvPr/>
        </p:nvSpPr>
        <p:spPr>
          <a:xfrm>
            <a:off x="2724150" y="2763056"/>
            <a:ext cx="2112169" cy="3125776"/>
          </a:xfrm>
          <a:prstGeom prst="rect">
            <a:avLst/>
          </a:prstGeom>
          <a:solidFill>
            <a:srgbClr val="D7EC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414E00-4FE5-3528-D37A-7E83248331D9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sta</a:t>
            </a: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 verrokkiyrityksistä lähteneet henkilöt, lukumäärä, ja osuudet lähteneistä, %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0B83BA3-12AA-6EE6-8651-F9B24BB552E9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laskelmat perustuen Tilastokeskuksen aineistoihi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699260C-9F07-15AB-61F9-A835F64E3414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) Nokiasta ja verrokkiyrityksistä lähteneiden henkilöiden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ukumäärät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A30E845-3501-DF06-D9C6-BE6ED17DF6F3}"/>
              </a:ext>
            </a:extLst>
          </p:cNvPr>
          <p:cNvGraphicFramePr/>
          <p:nvPr/>
        </p:nvGraphicFramePr>
        <p:xfrm>
          <a:off x="484094" y="2349732"/>
          <a:ext cx="10800678" cy="400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838EB462-B68A-D27B-7B05-97C690401F3B}"/>
              </a:ext>
            </a:extLst>
          </p:cNvPr>
          <p:cNvGrpSpPr/>
          <p:nvPr/>
        </p:nvGrpSpPr>
        <p:grpSpPr>
          <a:xfrm>
            <a:off x="1126331" y="5058145"/>
            <a:ext cx="538163" cy="435747"/>
            <a:chOff x="1169556" y="5241031"/>
            <a:chExt cx="450166" cy="435747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69C7F13-7D78-D513-E7A0-481F87285567}"/>
                </a:ext>
              </a:extLst>
            </p:cNvPr>
            <p:cNvSpPr/>
            <p:nvPr/>
          </p:nvSpPr>
          <p:spPr>
            <a:xfrm>
              <a:off x="1169556" y="5241031"/>
              <a:ext cx="450102" cy="432435"/>
            </a:xfrm>
            <a:custGeom>
              <a:avLst/>
              <a:gdLst>
                <a:gd name="connsiteX0" fmla="*/ 584835 w 584835"/>
                <a:gd name="connsiteY0" fmla="*/ 0 h 432435"/>
                <a:gd name="connsiteX1" fmla="*/ 584835 w 584835"/>
                <a:gd name="connsiteY1" fmla="*/ 140970 h 432435"/>
                <a:gd name="connsiteX2" fmla="*/ 0 w 584835"/>
                <a:gd name="connsiteY2" fmla="*/ 432435 h 432435"/>
                <a:gd name="connsiteX3" fmla="*/ 0 w 584835"/>
                <a:gd name="connsiteY3" fmla="*/ 289560 h 432435"/>
                <a:gd name="connsiteX4" fmla="*/ 584835 w 584835"/>
                <a:gd name="connsiteY4" fmla="*/ 0 h 43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835" h="432435">
                  <a:moveTo>
                    <a:pt x="584835" y="0"/>
                  </a:moveTo>
                  <a:lnTo>
                    <a:pt x="584835" y="140970"/>
                  </a:lnTo>
                  <a:lnTo>
                    <a:pt x="0" y="432435"/>
                  </a:lnTo>
                  <a:lnTo>
                    <a:pt x="0" y="289560"/>
                  </a:lnTo>
                  <a:lnTo>
                    <a:pt x="584835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A9D50AC-6EBE-5901-D187-99473A47B2F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241558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4B1FA32-5C10-9DD2-CAD3-4F14A648C4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386631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77F8B48-37A0-359B-F051-A46B0F7F36DE}"/>
              </a:ext>
            </a:extLst>
          </p:cNvPr>
          <p:cNvGrpSpPr/>
          <p:nvPr/>
        </p:nvGrpSpPr>
        <p:grpSpPr>
          <a:xfrm>
            <a:off x="1683544" y="5058145"/>
            <a:ext cx="538163" cy="435747"/>
            <a:chOff x="1169556" y="5241031"/>
            <a:chExt cx="450166" cy="435747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DB6B963-C171-F30A-E74A-FF02D56568C3}"/>
                </a:ext>
              </a:extLst>
            </p:cNvPr>
            <p:cNvSpPr/>
            <p:nvPr/>
          </p:nvSpPr>
          <p:spPr>
            <a:xfrm>
              <a:off x="1169556" y="5241031"/>
              <a:ext cx="450102" cy="432435"/>
            </a:xfrm>
            <a:custGeom>
              <a:avLst/>
              <a:gdLst>
                <a:gd name="connsiteX0" fmla="*/ 584835 w 584835"/>
                <a:gd name="connsiteY0" fmla="*/ 0 h 432435"/>
                <a:gd name="connsiteX1" fmla="*/ 584835 w 584835"/>
                <a:gd name="connsiteY1" fmla="*/ 140970 h 432435"/>
                <a:gd name="connsiteX2" fmla="*/ 0 w 584835"/>
                <a:gd name="connsiteY2" fmla="*/ 432435 h 432435"/>
                <a:gd name="connsiteX3" fmla="*/ 0 w 584835"/>
                <a:gd name="connsiteY3" fmla="*/ 289560 h 432435"/>
                <a:gd name="connsiteX4" fmla="*/ 584835 w 584835"/>
                <a:gd name="connsiteY4" fmla="*/ 0 h 43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835" h="432435">
                  <a:moveTo>
                    <a:pt x="584835" y="0"/>
                  </a:moveTo>
                  <a:lnTo>
                    <a:pt x="584835" y="140970"/>
                  </a:lnTo>
                  <a:lnTo>
                    <a:pt x="0" y="432435"/>
                  </a:lnTo>
                  <a:lnTo>
                    <a:pt x="0" y="289560"/>
                  </a:lnTo>
                  <a:lnTo>
                    <a:pt x="584835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F80B5B1-18D8-628F-EEFD-1399E1F2AC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241558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D1F9D6E-EF8D-ADAD-246E-6B1513E515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386631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A30D6795-7268-2544-DB25-3B866E0435FC}"/>
              </a:ext>
            </a:extLst>
          </p:cNvPr>
          <p:cNvSpPr/>
          <p:nvPr/>
        </p:nvSpPr>
        <p:spPr>
          <a:xfrm>
            <a:off x="2724150" y="2708563"/>
            <a:ext cx="2112169" cy="370538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C35F908-5CCB-CE1A-EBE5-F5FBB3BF1FB8}"/>
              </a:ext>
            </a:extLst>
          </p:cNvPr>
          <p:cNvSpPr/>
          <p:nvPr/>
        </p:nvSpPr>
        <p:spPr>
          <a:xfrm>
            <a:off x="4836319" y="2708563"/>
            <a:ext cx="6469233" cy="370538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2246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34CF3D-5F91-4FFE-5D8A-D6FD4E2FA4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75A94C1-753B-B297-0D8E-36B75457E63F}"/>
              </a:ext>
            </a:extLst>
          </p:cNvPr>
          <p:cNvSpPr/>
          <p:nvPr/>
        </p:nvSpPr>
        <p:spPr>
          <a:xfrm>
            <a:off x="2724150" y="2763056"/>
            <a:ext cx="2112169" cy="3125776"/>
          </a:xfrm>
          <a:prstGeom prst="rect">
            <a:avLst/>
          </a:prstGeom>
          <a:solidFill>
            <a:srgbClr val="D7EC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7F5F47-7789-E70B-77D5-090AE0D13ECF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kiasta</a:t>
            </a: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 verrokkiyrityksistä lähteneet henkilöt, lukumäärä, ja osuudet lähteneistä, %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0B5ED9-6E1F-342A-D765-2623AE462825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laskelmat perustuen Tilastokeskuksen aineistoihi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19132D-4ADA-2FBF-1395-615B4EB7E1EA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b) Nokiasta ja verrokkiyrityksistä yrittäjiksi tai bisnesenkeleiksi ryhtyneet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suhteessa kaikkiin lähteneisiin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, %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1383B02-996C-047D-5F44-C21040376654}"/>
              </a:ext>
            </a:extLst>
          </p:cNvPr>
          <p:cNvGraphicFramePr/>
          <p:nvPr/>
        </p:nvGraphicFramePr>
        <p:xfrm>
          <a:off x="482139" y="2277688"/>
          <a:ext cx="10812087" cy="4003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0" name="Group 29">
            <a:extLst>
              <a:ext uri="{FF2B5EF4-FFF2-40B4-BE49-F238E27FC236}">
                <a16:creationId xmlns:a16="http://schemas.microsoft.com/office/drawing/2014/main" id="{6FBDCA7F-7E9A-EF86-C35A-5C99A7989C30}"/>
              </a:ext>
            </a:extLst>
          </p:cNvPr>
          <p:cNvGrpSpPr/>
          <p:nvPr/>
        </p:nvGrpSpPr>
        <p:grpSpPr>
          <a:xfrm>
            <a:off x="1126331" y="5058145"/>
            <a:ext cx="538163" cy="435747"/>
            <a:chOff x="1169556" y="5241031"/>
            <a:chExt cx="450166" cy="435747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ABD5B1C-462D-ADFD-B569-93CEEFB539B7}"/>
                </a:ext>
              </a:extLst>
            </p:cNvPr>
            <p:cNvSpPr/>
            <p:nvPr/>
          </p:nvSpPr>
          <p:spPr>
            <a:xfrm>
              <a:off x="1169556" y="5241031"/>
              <a:ext cx="450102" cy="432435"/>
            </a:xfrm>
            <a:custGeom>
              <a:avLst/>
              <a:gdLst>
                <a:gd name="connsiteX0" fmla="*/ 584835 w 584835"/>
                <a:gd name="connsiteY0" fmla="*/ 0 h 432435"/>
                <a:gd name="connsiteX1" fmla="*/ 584835 w 584835"/>
                <a:gd name="connsiteY1" fmla="*/ 140970 h 432435"/>
                <a:gd name="connsiteX2" fmla="*/ 0 w 584835"/>
                <a:gd name="connsiteY2" fmla="*/ 432435 h 432435"/>
                <a:gd name="connsiteX3" fmla="*/ 0 w 584835"/>
                <a:gd name="connsiteY3" fmla="*/ 289560 h 432435"/>
                <a:gd name="connsiteX4" fmla="*/ 584835 w 584835"/>
                <a:gd name="connsiteY4" fmla="*/ 0 h 43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835" h="432435">
                  <a:moveTo>
                    <a:pt x="584835" y="0"/>
                  </a:moveTo>
                  <a:lnTo>
                    <a:pt x="584835" y="140970"/>
                  </a:lnTo>
                  <a:lnTo>
                    <a:pt x="0" y="432435"/>
                  </a:lnTo>
                  <a:lnTo>
                    <a:pt x="0" y="289560"/>
                  </a:lnTo>
                  <a:lnTo>
                    <a:pt x="584835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908AAC6-4954-8CE8-350B-57D8FBFDDA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241558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2489C0F-DE5C-053F-E31A-D0B2CC422BA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386631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9A0E04-30F0-8C2E-FBC0-8B02C5AF63D2}"/>
              </a:ext>
            </a:extLst>
          </p:cNvPr>
          <p:cNvGrpSpPr/>
          <p:nvPr/>
        </p:nvGrpSpPr>
        <p:grpSpPr>
          <a:xfrm>
            <a:off x="1683544" y="5058145"/>
            <a:ext cx="538163" cy="435747"/>
            <a:chOff x="1169556" y="5241031"/>
            <a:chExt cx="450166" cy="435747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5F2E654-38EA-2204-B59E-7417CDFF6810}"/>
                </a:ext>
              </a:extLst>
            </p:cNvPr>
            <p:cNvSpPr/>
            <p:nvPr/>
          </p:nvSpPr>
          <p:spPr>
            <a:xfrm>
              <a:off x="1169556" y="5241031"/>
              <a:ext cx="450102" cy="432435"/>
            </a:xfrm>
            <a:custGeom>
              <a:avLst/>
              <a:gdLst>
                <a:gd name="connsiteX0" fmla="*/ 584835 w 584835"/>
                <a:gd name="connsiteY0" fmla="*/ 0 h 432435"/>
                <a:gd name="connsiteX1" fmla="*/ 584835 w 584835"/>
                <a:gd name="connsiteY1" fmla="*/ 140970 h 432435"/>
                <a:gd name="connsiteX2" fmla="*/ 0 w 584835"/>
                <a:gd name="connsiteY2" fmla="*/ 432435 h 432435"/>
                <a:gd name="connsiteX3" fmla="*/ 0 w 584835"/>
                <a:gd name="connsiteY3" fmla="*/ 289560 h 432435"/>
                <a:gd name="connsiteX4" fmla="*/ 584835 w 584835"/>
                <a:gd name="connsiteY4" fmla="*/ 0 h 43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4835" h="432435">
                  <a:moveTo>
                    <a:pt x="584835" y="0"/>
                  </a:moveTo>
                  <a:lnTo>
                    <a:pt x="584835" y="140970"/>
                  </a:lnTo>
                  <a:lnTo>
                    <a:pt x="0" y="432435"/>
                  </a:lnTo>
                  <a:lnTo>
                    <a:pt x="0" y="289560"/>
                  </a:lnTo>
                  <a:lnTo>
                    <a:pt x="584835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F944D92-0C9F-7FE4-B577-42A88375C8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241558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630BE577-2829-2F8E-561D-D570EFEF49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69620" y="5386631"/>
              <a:ext cx="450102" cy="290147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4DB482A9-7856-9E30-66A2-0842308F480E}"/>
              </a:ext>
            </a:extLst>
          </p:cNvPr>
          <p:cNvSpPr/>
          <p:nvPr/>
        </p:nvSpPr>
        <p:spPr>
          <a:xfrm>
            <a:off x="1188244" y="3829667"/>
            <a:ext cx="43100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10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755B53-E426-1C09-5BD9-9AE153D22F6F}"/>
              </a:ext>
            </a:extLst>
          </p:cNvPr>
          <p:cNvSpPr/>
          <p:nvPr/>
        </p:nvSpPr>
        <p:spPr>
          <a:xfrm>
            <a:off x="1746609" y="3829667"/>
            <a:ext cx="43100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10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A8EED1-F391-B4A8-D365-ADA020890763}"/>
              </a:ext>
            </a:extLst>
          </p:cNvPr>
          <p:cNvSpPr/>
          <p:nvPr/>
        </p:nvSpPr>
        <p:spPr>
          <a:xfrm>
            <a:off x="613605" y="2708563"/>
            <a:ext cx="2112169" cy="370538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FB76B8-E81F-FBEA-FF99-DF4914674BCC}"/>
              </a:ext>
            </a:extLst>
          </p:cNvPr>
          <p:cNvSpPr/>
          <p:nvPr/>
        </p:nvSpPr>
        <p:spPr>
          <a:xfrm>
            <a:off x="4836319" y="2708563"/>
            <a:ext cx="6469233" cy="370538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427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EBCE15-092B-6747-9E5B-E1F33ECBA7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9392738-1268-4003-03E3-3D3DC7B5C2A8}"/>
              </a:ext>
            </a:extLst>
          </p:cNvPr>
          <p:cNvSpPr/>
          <p:nvPr/>
        </p:nvSpPr>
        <p:spPr>
          <a:xfrm>
            <a:off x="619126" y="2763056"/>
            <a:ext cx="2633662" cy="3125776"/>
          </a:xfrm>
          <a:prstGeom prst="rect">
            <a:avLst/>
          </a:prstGeom>
          <a:solidFill>
            <a:srgbClr val="D7EC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00D929-0B5A-0CC8-EB01-CC51CAE6B8FD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viytymistodennäköisyys sekä työllisyyden ja liikevaihdon 3 vuoden kasvu, %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95FD5F-5CA1-28D6-71DF-8CAF2114BCB2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laskelmat perustuen Tilastokeskuksen aineistoihi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9E9E30B-5943-FA16-12DD-0B407F778964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a) Kolme vuotta </a:t>
            </a:r>
            <a:r>
              <a:rPr kumimoji="0" lang="fi-FI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selviyty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vien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yritysten osuu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EB930BF8-B854-51E8-06B3-94ACE2AE1FAB}"/>
              </a:ext>
            </a:extLst>
          </p:cNvPr>
          <p:cNvGraphicFramePr/>
          <p:nvPr/>
        </p:nvGraphicFramePr>
        <p:xfrm>
          <a:off x="484094" y="2349732"/>
          <a:ext cx="10800678" cy="400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540591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711AC9-2A57-3F51-169B-E516AA65ED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9F7CA5-C75D-E643-8A1E-8D62E73E31C9}"/>
              </a:ext>
            </a:extLst>
          </p:cNvPr>
          <p:cNvSpPr/>
          <p:nvPr/>
        </p:nvSpPr>
        <p:spPr>
          <a:xfrm>
            <a:off x="619126" y="2763056"/>
            <a:ext cx="2633662" cy="2554275"/>
          </a:xfrm>
          <a:prstGeom prst="rect">
            <a:avLst/>
          </a:prstGeom>
          <a:solidFill>
            <a:srgbClr val="D7EC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254464-BED0-EFA8-A49D-1F55791019B7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viytymistodennäköisyys sekä työllisyyden ja liikevaihdon 3 vuoden kasvu, %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557BE55-3B0D-34B8-5D44-7BB7E04F5273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laskelmat perustuen Tilastokeskuksen aineistoihi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1703A41-AEC6-4143-EEBB-4BCC9F776118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b) Kolmen vuoden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työllisyyskasvu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(ehdolla, että selviytyy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4F06B99-B30F-2D70-986D-1FFFBBAE5BBB}"/>
              </a:ext>
            </a:extLst>
          </p:cNvPr>
          <p:cNvGraphicFramePr/>
          <p:nvPr/>
        </p:nvGraphicFramePr>
        <p:xfrm>
          <a:off x="484094" y="2349732"/>
          <a:ext cx="10800678" cy="400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5322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025E5-8300-A68C-E9C9-3D98FE53E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9DB076-6A43-ABB3-3C4E-6220365A7E26}"/>
              </a:ext>
            </a:extLst>
          </p:cNvPr>
          <p:cNvSpPr/>
          <p:nvPr/>
        </p:nvSpPr>
        <p:spPr>
          <a:xfrm>
            <a:off x="619126" y="2763056"/>
            <a:ext cx="2633662" cy="2387588"/>
          </a:xfrm>
          <a:prstGeom prst="rect">
            <a:avLst/>
          </a:prstGeom>
          <a:solidFill>
            <a:srgbClr val="D7ECF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D3C918-04EC-0576-FF6F-4B2E502AA663}"/>
              </a:ext>
            </a:extLst>
          </p:cNvPr>
          <p:cNvSpPr txBox="1"/>
          <p:nvPr/>
        </p:nvSpPr>
        <p:spPr>
          <a:xfrm>
            <a:off x="614760" y="178133"/>
            <a:ext cx="1161505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vio 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viytymistodennäköisyys sekä työllisyyden ja liikevaihdon 3 vuoden kasvu, %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CB1E6A-415A-5147-271F-C41E2F5419B6}"/>
              </a:ext>
            </a:extLst>
          </p:cNvPr>
          <p:cNvSpPr/>
          <p:nvPr/>
        </p:nvSpPr>
        <p:spPr>
          <a:xfrm>
            <a:off x="576944" y="6664631"/>
            <a:ext cx="1114079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ähde: Kirjoittajien laskelmat perustuen Tilastokeskuksen aineistoihi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71C7AAE-81C4-E9B9-390C-B4DDCD2675D3}"/>
              </a:ext>
            </a:extLst>
          </p:cNvPr>
          <p:cNvSpPr/>
          <p:nvPr/>
        </p:nvSpPr>
        <p:spPr>
          <a:xfrm>
            <a:off x="620038" y="2036985"/>
            <a:ext cx="1053438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c) Kolmen vuoden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liikevaihdon kasvu 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(ehdolla, että selviytyy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6EF8EC3-8462-F731-F38E-484BF90873E0}"/>
              </a:ext>
            </a:extLst>
          </p:cNvPr>
          <p:cNvGraphicFramePr/>
          <p:nvPr/>
        </p:nvGraphicFramePr>
        <p:xfrm>
          <a:off x="484094" y="2349732"/>
          <a:ext cx="10800678" cy="400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960050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8A6A02-5EF2-8182-8094-AA65E5F10F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E6F37A2E-6C23-BADB-CC40-28159228A4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2C6055F-0461-1B3B-EF1B-C90055636397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lokset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AE8DC8C4-6039-5AFE-5DAC-9EF0963C54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071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7D11DA-A441-1270-C44F-7A8C0F8A7E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E91B63F-AA56-928C-32A3-FDDE56F988D4}"/>
              </a:ext>
            </a:extLst>
          </p:cNvPr>
          <p:cNvSpPr txBox="1"/>
          <p:nvPr/>
        </p:nvSpPr>
        <p:spPr>
          <a:xfrm>
            <a:off x="1790700" y="1666245"/>
            <a:ext cx="980209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Nokia-startupit mm. lähtökooltaan hieman pienempiä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sym typeface="Wingdings" panose="05000000000000000000" pitchFamily="2" charset="2"/>
              </a:rPr>
              <a:t> Regressio: Nokia-vaikutus ”muut tekijät huomioiden”</a:t>
            </a: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90000"/>
                  <a:lumOff val="10000"/>
                </a:srgbClr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euraavassa ”arvio”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piste-estimaatti)</a:t>
            </a: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Nokia-kokemuksen ”ylimääräisestä” vaikutuksesta &amp; sen luottamusväli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95%)</a:t>
            </a: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aikki lähteneet &amp; vain innovaattorit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(Nokia &amp; verrokit)</a:t>
            </a: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042833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71CA98F-8974-98AA-DAD5-D493F553FC32}"/>
              </a:ext>
            </a:extLst>
          </p:cNvPr>
          <p:cNvGraphicFramePr/>
          <p:nvPr/>
        </p:nvGraphicFramePr>
        <p:xfrm>
          <a:off x="3046529" y="2415447"/>
          <a:ext cx="5747657" cy="2027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FFD60960-E663-21B6-A44D-AFF4017E1505}"/>
              </a:ext>
            </a:extLst>
          </p:cNvPr>
          <p:cNvSpPr txBox="1">
            <a:spLocks/>
          </p:cNvSpPr>
          <p:nvPr/>
        </p:nvSpPr>
        <p:spPr>
          <a:xfrm>
            <a:off x="1022655" y="1434551"/>
            <a:ext cx="10515600" cy="7935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elviytyminen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, 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aikki startupit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, piste-estimaatti ja 95 %:n luottamusväli</a:t>
            </a:r>
            <a:endParaRPr kumimoji="0" lang="fi-FI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026249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04DC6C-8245-AB44-C60E-77BE7510BF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C2AA1DD2-DF79-3353-22C8-09851759F0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BEACD8-7602-7F6C-6E51-D63F3EC1BF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4085" y="526597"/>
            <a:ext cx="9144000" cy="766763"/>
          </a:xfrm>
        </p:spPr>
        <p:txBody>
          <a:bodyPr>
            <a:normAutofit/>
          </a:bodyPr>
          <a:lstStyle/>
          <a:p>
            <a:r>
              <a:rPr lang="fi-FI" sz="3600" b="1" dirty="0">
                <a:solidFill>
                  <a:schemeClr val="bg1"/>
                </a:solidFill>
              </a:rPr>
              <a:t>Nokiasta 2008–2014 lähteneiden tie yrittäjiksi</a:t>
            </a:r>
            <a:endParaRPr lang="LID4096" sz="3600" dirty="0">
              <a:solidFill>
                <a:schemeClr val="bg1"/>
              </a:solidFill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9E34135-C4C3-BD4F-97EC-0B84E412A795}"/>
              </a:ext>
            </a:extLst>
          </p:cNvPr>
          <p:cNvGraphicFramePr>
            <a:graphicFrameLocks noGrp="1"/>
          </p:cNvGraphicFramePr>
          <p:nvPr/>
        </p:nvGraphicFramePr>
        <p:xfrm>
          <a:off x="1328063" y="1749682"/>
          <a:ext cx="9535874" cy="395930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41264">
                  <a:extLst>
                    <a:ext uri="{9D8B030D-6E8A-4147-A177-3AD203B41FA5}">
                      <a16:colId xmlns:a16="http://schemas.microsoft.com/office/drawing/2014/main" val="4085823868"/>
                    </a:ext>
                  </a:extLst>
                </a:gridCol>
                <a:gridCol w="8094610">
                  <a:extLst>
                    <a:ext uri="{9D8B030D-6E8A-4147-A177-3AD203B41FA5}">
                      <a16:colId xmlns:a16="http://schemas.microsoft.com/office/drawing/2014/main" val="2051609250"/>
                    </a:ext>
                  </a:extLst>
                </a:gridCol>
              </a:tblGrid>
              <a:tr h="379586">
                <a:tc>
                  <a:txBody>
                    <a:bodyPr/>
                    <a:lstStyle/>
                    <a:p>
                      <a:r>
                        <a:rPr lang="fi-FI" sz="1600" b="1" dirty="0">
                          <a:solidFill>
                            <a:schemeClr val="tx1"/>
                          </a:solidFill>
                        </a:rPr>
                        <a:t>9:30–9:35</a:t>
                      </a:r>
                      <a:endParaRPr lang="LID4096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b="0" dirty="0">
                          <a:solidFill>
                            <a:schemeClr val="tx1"/>
                          </a:solidFill>
                        </a:rPr>
                        <a:t>Tervetuloa / viestintäjohtaja </a:t>
                      </a:r>
                      <a:r>
                        <a:rPr lang="fi-FI" sz="1600" b="1" dirty="0">
                          <a:solidFill>
                            <a:schemeClr val="tx1"/>
                          </a:solidFill>
                        </a:rPr>
                        <a:t>Tytti Sulander</a:t>
                      </a:r>
                      <a:r>
                        <a:rPr lang="fi-FI" sz="1600" b="0" dirty="0">
                          <a:solidFill>
                            <a:schemeClr val="tx1"/>
                          </a:solidFill>
                        </a:rPr>
                        <a:t>, Etla</a:t>
                      </a:r>
                      <a:endParaRPr lang="LID4096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219291"/>
                  </a:ext>
                </a:extLst>
              </a:tr>
              <a:tr h="592778">
                <a:tc>
                  <a:txBody>
                    <a:bodyPr/>
                    <a:lstStyle/>
                    <a:p>
                      <a:r>
                        <a:rPr lang="fi-FI" sz="1600" b="1" dirty="0"/>
                        <a:t>9:35–10:05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Nokiasta lähteneiden tie yrittäjyyteen, tutkimustuloksia / tutkimusneuvonantaja </a:t>
                      </a:r>
                      <a:r>
                        <a:rPr lang="fi-FI" sz="1600" b="1" dirty="0"/>
                        <a:t>Petri Rouvinen</a:t>
                      </a:r>
                      <a:r>
                        <a:rPr lang="fi-FI" sz="1600" dirty="0"/>
                        <a:t>, Etla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428334"/>
                  </a:ext>
                </a:extLst>
              </a:tr>
              <a:tr h="387034">
                <a:tc>
                  <a:txBody>
                    <a:bodyPr/>
                    <a:lstStyle/>
                    <a:p>
                      <a:r>
                        <a:rPr lang="fi-FI" sz="1600" b="1" dirty="0"/>
                        <a:t>10:05–10:15</a:t>
                      </a:r>
                      <a:r>
                        <a:rPr lang="fi-FI" sz="1600" dirty="0"/>
                        <a:t> </a:t>
                      </a:r>
                      <a:endParaRPr lang="LID4096" sz="16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Kommenttipuheenvuoro / </a:t>
                      </a:r>
                      <a:r>
                        <a:rPr lang="fi-FI" sz="1600" b="1" dirty="0"/>
                        <a:t>Timo Vuori</a:t>
                      </a:r>
                      <a:r>
                        <a:rPr lang="fi-FI" sz="1600" dirty="0"/>
                        <a:t>, strategiaprofessori, Aalto-yliopisto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804660"/>
                  </a:ext>
                </a:extLst>
              </a:tr>
              <a:tr h="1840732">
                <a:tc>
                  <a:txBody>
                    <a:bodyPr/>
                    <a:lstStyle/>
                    <a:p>
                      <a:r>
                        <a:rPr lang="fi-FI" sz="1600" b="1" dirty="0"/>
                        <a:t>10:15–10:50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Paneelikeskustelu</a:t>
                      </a:r>
                      <a:endParaRPr lang="fi-FI" sz="1200" b="1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Esko Aho</a:t>
                      </a:r>
                      <a:r>
                        <a:rPr lang="fi-FI" sz="1600" dirty="0"/>
                        <a:t>, Suomen pääministeri 1991–1995, Nokian yhteiskuntasuhteista vastaava johtokunnan jäsen 2009–2012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Kaisa Olkkonen</a:t>
                      </a:r>
                      <a:r>
                        <a:rPr lang="fi-FI" sz="1600" dirty="0"/>
                        <a:t>, hallitusammattilainen, Nokian yhteiskuntasuhdejohtaja 2010–2016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Pekka Pesonen</a:t>
                      </a:r>
                      <a:r>
                        <a:rPr lang="fi-FI" sz="1600" dirty="0"/>
                        <a:t>, projektijohtaja, Nokian entinen Bridge-ohjelma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Timo Vuori</a:t>
                      </a:r>
                      <a:r>
                        <a:rPr lang="fi-FI" sz="1600" dirty="0"/>
                        <a:t>, strategiaprofessori, Aalto-yliopisto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fi-FI" sz="1600" b="1" dirty="0"/>
                        <a:t>Petri Rouvinen</a:t>
                      </a:r>
                      <a:r>
                        <a:rPr lang="fi-FI" sz="1600" dirty="0"/>
                        <a:t>, paneelikeskustelun moderaattori, Etl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819131"/>
                  </a:ext>
                </a:extLst>
              </a:tr>
              <a:tr h="379586">
                <a:tc>
                  <a:txBody>
                    <a:bodyPr/>
                    <a:lstStyle/>
                    <a:p>
                      <a:r>
                        <a:rPr lang="fi-FI" sz="1600" b="1" dirty="0"/>
                        <a:t>10:50–11:00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Kysymyksiä ja keskustelua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453872"/>
                  </a:ext>
                </a:extLst>
              </a:tr>
              <a:tr h="379586">
                <a:tc>
                  <a:txBody>
                    <a:bodyPr/>
                    <a:lstStyle/>
                    <a:p>
                      <a:r>
                        <a:rPr lang="fi-FI" sz="1600" b="1" dirty="0"/>
                        <a:t>11:00</a:t>
                      </a:r>
                      <a:endParaRPr lang="LID4096" sz="1600" b="1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600" dirty="0"/>
                        <a:t>Tilaisuus päättyy</a:t>
                      </a:r>
                      <a:endParaRPr lang="LID4096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937865"/>
                  </a:ext>
                </a:extLst>
              </a:tr>
            </a:tbl>
          </a:graphicData>
        </a:graphic>
      </p:graphicFrame>
      <p:sp>
        <p:nvSpPr>
          <p:cNvPr id="11" name="Oval 10">
            <a:extLst>
              <a:ext uri="{FF2B5EF4-FFF2-40B4-BE49-F238E27FC236}">
                <a16:creationId xmlns:a16="http://schemas.microsoft.com/office/drawing/2014/main" id="{51046D45-36D8-F0CB-D188-8BCCCAB1FEC8}"/>
              </a:ext>
            </a:extLst>
          </p:cNvPr>
          <p:cNvSpPr/>
          <p:nvPr/>
        </p:nvSpPr>
        <p:spPr>
          <a:xfrm>
            <a:off x="10199351" y="4258357"/>
            <a:ext cx="1861127" cy="1867480"/>
          </a:xfrm>
          <a:prstGeom prst="ellipse">
            <a:avLst/>
          </a:prstGeom>
          <a:solidFill>
            <a:srgbClr val="012E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ID4096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71A882-5E6C-A97A-F2B2-B6DF0C0F1B5C}"/>
              </a:ext>
            </a:extLst>
          </p:cNvPr>
          <p:cNvSpPr txBox="1"/>
          <p:nvPr/>
        </p:nvSpPr>
        <p:spPr>
          <a:xfrm>
            <a:off x="10498085" y="4951229"/>
            <a:ext cx="13115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Kysymyksiä voi esittää chatissa.</a:t>
            </a:r>
            <a:endParaRPr kumimoji="0" lang="LID4096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6AA6687-22D4-2029-EC7E-1782E2C2DDA4}"/>
              </a:ext>
            </a:extLst>
          </p:cNvPr>
          <p:cNvSpPr/>
          <p:nvPr/>
        </p:nvSpPr>
        <p:spPr>
          <a:xfrm>
            <a:off x="8581412" y="4880222"/>
            <a:ext cx="1861127" cy="1867480"/>
          </a:xfrm>
          <a:prstGeom prst="ellipse">
            <a:avLst/>
          </a:prstGeom>
          <a:solidFill>
            <a:srgbClr val="04549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ID4096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8CB6D4-45FC-F9E3-EF7A-68AD9BA6AA59}"/>
              </a:ext>
            </a:extLst>
          </p:cNvPr>
          <p:cNvSpPr txBox="1"/>
          <p:nvPr/>
        </p:nvSpPr>
        <p:spPr>
          <a:xfrm>
            <a:off x="8814053" y="5611469"/>
            <a:ext cx="14463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ilaisuus tallennetaan.</a:t>
            </a:r>
            <a:endParaRPr kumimoji="0" lang="LID4096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13" name="Graphic 12" descr="Chat bubble outline">
            <a:extLst>
              <a:ext uri="{FF2B5EF4-FFF2-40B4-BE49-F238E27FC236}">
                <a16:creationId xmlns:a16="http://schemas.microsoft.com/office/drawing/2014/main" id="{7B9216AF-5A44-F85E-81C9-AFCEA3622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57708" y="4473636"/>
            <a:ext cx="544411" cy="544411"/>
          </a:xfrm>
          <a:prstGeom prst="rect">
            <a:avLst/>
          </a:prstGeom>
        </p:spPr>
      </p:pic>
      <p:pic>
        <p:nvPicPr>
          <p:cNvPr id="15" name="Graphic 14" descr="Record outline">
            <a:extLst>
              <a:ext uri="{FF2B5EF4-FFF2-40B4-BE49-F238E27FC236}">
                <a16:creationId xmlns:a16="http://schemas.microsoft.com/office/drawing/2014/main" id="{375313EB-1E56-F445-4C19-2F08885112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58338" y="5085802"/>
            <a:ext cx="561852" cy="561852"/>
          </a:xfrm>
          <a:prstGeom prst="rect">
            <a:avLst/>
          </a:prstGeom>
        </p:spPr>
      </p:pic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34A2D0B8-2243-EF25-C094-6DF2082C81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764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CA09B6-9095-FEC0-784E-D2B03488E8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2F71964-4329-A567-796F-02872A13AABB}"/>
              </a:ext>
            </a:extLst>
          </p:cNvPr>
          <p:cNvGraphicFramePr/>
          <p:nvPr/>
        </p:nvGraphicFramePr>
        <p:xfrm>
          <a:off x="2602021" y="2071253"/>
          <a:ext cx="6849411" cy="3690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8EEBEF-11DA-5CB3-3BB2-6CC8AB0989D6}"/>
              </a:ext>
            </a:extLst>
          </p:cNvPr>
          <p:cNvSpPr txBox="1">
            <a:spLocks/>
          </p:cNvSpPr>
          <p:nvPr/>
        </p:nvSpPr>
        <p:spPr>
          <a:xfrm>
            <a:off x="838200" y="978526"/>
            <a:ext cx="10515600" cy="7935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Liikevaihdon kasvu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, 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tartupit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FF521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, piste-estimaatti ja 95 %:n luottamusväli</a:t>
            </a:r>
            <a:endParaRPr kumimoji="0" lang="fi-FI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347119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6624A5-DD26-8743-21E3-9734A9D89F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01FDA0DA-CEAE-948F-67E3-500C81BB16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0168C4-4F1F-CB68-4B53-7ED12960DF6B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puksi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636E6370-632E-0A31-7913-0258A1B008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0938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FDCB68-6961-6E2C-0F04-73E3C16EFC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348339B-BFA2-3B5D-DA16-DB99C1AA2DFC}"/>
              </a:ext>
            </a:extLst>
          </p:cNvPr>
          <p:cNvSpPr txBox="1"/>
          <p:nvPr/>
        </p:nvSpPr>
        <p:spPr>
          <a:xfrm>
            <a:off x="1478973" y="308499"/>
            <a:ext cx="9802092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2</a:t>
            </a: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44 lähteneestä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48 </a:t>
            </a:r>
            <a:r>
              <a:rPr kumimoji="0" lang="fi-FI" sz="26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8,3</a:t>
            </a:r>
            <a:r>
              <a:rPr kumimoji="0" lang="fi-FI" sz="17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</a:t>
            </a:r>
            <a:r>
              <a:rPr kumimoji="0" lang="fi-FI" sz="26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rittäjäksi/bisnesenkeliks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kiasta startup-yrittäjäksi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X todennäköisemm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-Nokialaiset perustivat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27 uutta startup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opeampi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ikevaihdon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svu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i-FI" sz="2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3 vuott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0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opeampi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v. kasvu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novaattoreilla</a:t>
            </a:r>
            <a:endParaRPr kumimoji="0" lang="fi-FI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6184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3BC02-B66C-ED70-E9F1-05FEDD7B2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light&#10;&#10;AI-generated content may be incorrect.">
            <a:extLst>
              <a:ext uri="{FF2B5EF4-FFF2-40B4-BE49-F238E27FC236}">
                <a16:creationId xmlns:a16="http://schemas.microsoft.com/office/drawing/2014/main" id="{72B873BA-705E-5193-64D9-2857E734CA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4B36A0F-D0E4-E93F-9413-83AEB84222A4}"/>
              </a:ext>
            </a:extLst>
          </p:cNvPr>
          <p:cNvSpPr/>
          <p:nvPr/>
        </p:nvSpPr>
        <p:spPr>
          <a:xfrm>
            <a:off x="-42910" y="0"/>
            <a:ext cx="4891802" cy="6858000"/>
          </a:xfrm>
          <a:prstGeom prst="rect">
            <a:avLst/>
          </a:prstGeom>
          <a:solidFill>
            <a:srgbClr val="0949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45A3E5-6A9E-38D0-E523-A2D12D368B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42910" y="2107666"/>
            <a:ext cx="4934712" cy="1004507"/>
          </a:xfrm>
        </p:spPr>
        <p:txBody>
          <a:bodyPr>
            <a:normAutofit/>
          </a:bodyPr>
          <a:lstStyle/>
          <a:p>
            <a:r>
              <a:rPr lang="fi-FI" sz="5400" dirty="0">
                <a:solidFill>
                  <a:schemeClr val="bg1"/>
                </a:solidFill>
              </a:rPr>
              <a:t>Timo Vuori</a:t>
            </a:r>
            <a:endParaRPr lang="LID4096" sz="54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C7434B0-2E20-F161-BFC3-1FDAB23550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8282" y="3303151"/>
            <a:ext cx="4572327" cy="885354"/>
          </a:xfrm>
        </p:spPr>
        <p:txBody>
          <a:bodyPr/>
          <a:lstStyle/>
          <a:p>
            <a:r>
              <a:rPr lang="fi-FI" sz="2400" dirty="0">
                <a:solidFill>
                  <a:schemeClr val="bg1"/>
                </a:solidFill>
              </a:rPr>
              <a:t>strategiaprofessori </a:t>
            </a:r>
          </a:p>
          <a:p>
            <a:r>
              <a:rPr lang="fi-FI" sz="2400" dirty="0">
                <a:solidFill>
                  <a:schemeClr val="bg1"/>
                </a:solidFill>
              </a:rPr>
              <a:t>Aalto-yliopisto</a:t>
            </a:r>
            <a:endParaRPr lang="LID4096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B9F954-9835-2981-12BA-949FAB651F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74" r="12822"/>
          <a:stretch/>
        </p:blipFill>
        <p:spPr>
          <a:xfrm>
            <a:off x="6193298" y="835795"/>
            <a:ext cx="4934712" cy="493471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639153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66E41C-5E67-BA26-10D2-1CE92B6E73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9E759D-69DD-BE02-0128-C24876D723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480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9E759D-69DD-BE02-0128-C24876D72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2480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67F2656F-D405-9580-1254-60889CD8C9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4871" y="6501075"/>
            <a:ext cx="7342581" cy="216024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o.vuori@aalto.f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adaptivevolcano.co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C8E340-986E-B66F-914E-987B97554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CA222D-FCF7-48C1-A274-EBDDEF75DC6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928B8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4105193-ABE7-1ACC-E8DF-5A77E02A9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27" y="476250"/>
            <a:ext cx="11086867" cy="515901"/>
          </a:xfrm>
        </p:spPr>
        <p:txBody>
          <a:bodyPr vert="horz"/>
          <a:lstStyle/>
          <a:p>
            <a:r>
              <a:rPr lang="en-GB" sz="3200" dirty="0"/>
              <a:t>Disruption </a:t>
            </a:r>
            <a:r>
              <a:rPr lang="en-GB" sz="3200" dirty="0" err="1"/>
              <a:t>rikkoo</a:t>
            </a:r>
            <a:r>
              <a:rPr lang="en-GB" sz="3200" dirty="0"/>
              <a:t> </a:t>
            </a:r>
            <a:r>
              <a:rPr lang="en-GB" sz="3200" dirty="0" err="1"/>
              <a:t>vanhan</a:t>
            </a:r>
            <a:r>
              <a:rPr lang="en-GB" sz="3200" dirty="0"/>
              <a:t> </a:t>
            </a:r>
            <a:r>
              <a:rPr lang="en-GB" sz="3200" dirty="0" err="1"/>
              <a:t>toimintalogiikan</a:t>
            </a:r>
            <a:r>
              <a:rPr lang="en-GB" sz="3200" dirty="0"/>
              <a:t> </a:t>
            </a:r>
            <a:r>
              <a:rPr lang="en-GB" sz="3200" dirty="0" err="1"/>
              <a:t>ja</a:t>
            </a:r>
            <a:r>
              <a:rPr lang="en-GB" sz="3200" dirty="0"/>
              <a:t> </a:t>
            </a:r>
            <a:r>
              <a:rPr lang="en-GB" sz="3200" dirty="0" err="1"/>
              <a:t>osaamisen</a:t>
            </a:r>
            <a:endParaRPr lang="en-GB" sz="3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53B6E5-A3CC-ED52-8723-5BEDFD8860D2}"/>
              </a:ext>
            </a:extLst>
          </p:cNvPr>
          <p:cNvSpPr txBox="1"/>
          <p:nvPr/>
        </p:nvSpPr>
        <p:spPr>
          <a:xfrm>
            <a:off x="3675077" y="1905461"/>
            <a:ext cx="2015699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usi teknologi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AF6173-783A-C339-0511-47BFB6B42AA2}"/>
              </a:ext>
            </a:extLst>
          </p:cNvPr>
          <p:cNvSpPr txBox="1"/>
          <p:nvPr/>
        </p:nvSpPr>
        <p:spPr>
          <a:xfrm>
            <a:off x="3649767" y="2296283"/>
            <a:ext cx="2708261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u ympäristön muutos</a:t>
            </a:r>
            <a:endParaRPr kumimoji="0" lang="en-FI" sz="17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78FE44-A33D-60B5-BAD4-4BC3C3AD3A43}"/>
              </a:ext>
            </a:extLst>
          </p:cNvPr>
          <p:cNvSpPr txBox="1"/>
          <p:nvPr/>
        </p:nvSpPr>
        <p:spPr>
          <a:xfrm>
            <a:off x="1210794" y="3708646"/>
            <a:ext cx="1871721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jatusmallit</a:t>
            </a:r>
            <a:endParaRPr kumimoji="0" lang="en-FI" sz="17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CCCC98-0318-FCB9-27CF-035BF912A369}"/>
              </a:ext>
            </a:extLst>
          </p:cNvPr>
          <p:cNvSpPr txBox="1"/>
          <p:nvPr/>
        </p:nvSpPr>
        <p:spPr>
          <a:xfrm>
            <a:off x="1210794" y="4035201"/>
            <a:ext cx="1871721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kenteet ja toimintatava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1B9107-9025-87CA-99AA-78350DA1E0F4}"/>
              </a:ext>
            </a:extLst>
          </p:cNvPr>
          <p:cNvSpPr txBox="1"/>
          <p:nvPr/>
        </p:nvSpPr>
        <p:spPr>
          <a:xfrm>
            <a:off x="6623302" y="3949644"/>
            <a:ext cx="1312454" cy="3692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nte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9D3D81-7590-B6AA-6E00-F75B498A1410}"/>
              </a:ext>
            </a:extLst>
          </p:cNvPr>
          <p:cNvSpPr txBox="1"/>
          <p:nvPr/>
        </p:nvSpPr>
        <p:spPr>
          <a:xfrm>
            <a:off x="9120450" y="3837142"/>
            <a:ext cx="1871721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äätökset ja teot</a:t>
            </a:r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6AD3A663-1E85-3560-AC7E-DF8B9C4A81CB}"/>
              </a:ext>
            </a:extLst>
          </p:cNvPr>
          <p:cNvSpPr/>
          <p:nvPr/>
        </p:nvSpPr>
        <p:spPr>
          <a:xfrm>
            <a:off x="3172528" y="3837141"/>
            <a:ext cx="3239516" cy="58055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Down Arrow 14">
            <a:extLst>
              <a:ext uri="{FF2B5EF4-FFF2-40B4-BE49-F238E27FC236}">
                <a16:creationId xmlns:a16="http://schemas.microsoft.com/office/drawing/2014/main" id="{465196BD-7F56-E64A-DA78-68460FE514CF}"/>
              </a:ext>
            </a:extLst>
          </p:cNvPr>
          <p:cNvSpPr/>
          <p:nvPr/>
        </p:nvSpPr>
        <p:spPr>
          <a:xfrm>
            <a:off x="4450310" y="2901281"/>
            <a:ext cx="719893" cy="1043718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930975-EDAB-4D1E-01AD-78A0A0948E58}"/>
              </a:ext>
            </a:extLst>
          </p:cNvPr>
          <p:cNvSpPr txBox="1"/>
          <p:nvPr/>
        </p:nvSpPr>
        <p:spPr>
          <a:xfrm>
            <a:off x="1380346" y="1949382"/>
            <a:ext cx="1295807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imialan logiikka</a:t>
            </a:r>
            <a:endParaRPr kumimoji="0" lang="en-FI" sz="17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Up-down Arrow 17">
            <a:extLst>
              <a:ext uri="{FF2B5EF4-FFF2-40B4-BE49-F238E27FC236}">
                <a16:creationId xmlns:a16="http://schemas.microsoft.com/office/drawing/2014/main" id="{F6ED4EAD-B8BE-4A09-9926-EBC432621BB4}"/>
              </a:ext>
            </a:extLst>
          </p:cNvPr>
          <p:cNvSpPr/>
          <p:nvPr/>
        </p:nvSpPr>
        <p:spPr>
          <a:xfrm>
            <a:off x="1642730" y="2673182"/>
            <a:ext cx="359946" cy="872643"/>
          </a:xfrm>
          <a:prstGeom prst="up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ight Arrow 18">
            <a:extLst>
              <a:ext uri="{FF2B5EF4-FFF2-40B4-BE49-F238E27FC236}">
                <a16:creationId xmlns:a16="http://schemas.microsoft.com/office/drawing/2014/main" id="{E258D0B7-C4D2-835C-4B55-A70900D49AA4}"/>
              </a:ext>
            </a:extLst>
          </p:cNvPr>
          <p:cNvSpPr/>
          <p:nvPr/>
        </p:nvSpPr>
        <p:spPr>
          <a:xfrm>
            <a:off x="2501390" y="2120893"/>
            <a:ext cx="863871" cy="3507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ight Arrow 19">
            <a:extLst>
              <a:ext uri="{FF2B5EF4-FFF2-40B4-BE49-F238E27FC236}">
                <a16:creationId xmlns:a16="http://schemas.microsoft.com/office/drawing/2014/main" id="{ABD6C969-DC66-14CA-F670-BED299FCD724}"/>
              </a:ext>
            </a:extLst>
          </p:cNvPr>
          <p:cNvSpPr/>
          <p:nvPr/>
        </p:nvSpPr>
        <p:spPr>
          <a:xfrm>
            <a:off x="6358028" y="2102430"/>
            <a:ext cx="2538969" cy="3507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ight Arrow 20">
            <a:extLst>
              <a:ext uri="{FF2B5EF4-FFF2-40B4-BE49-F238E27FC236}">
                <a16:creationId xmlns:a16="http://schemas.microsoft.com/office/drawing/2014/main" id="{CF5EDCCA-2814-9A54-EF56-E6711B00414E}"/>
              </a:ext>
            </a:extLst>
          </p:cNvPr>
          <p:cNvSpPr/>
          <p:nvPr/>
        </p:nvSpPr>
        <p:spPr>
          <a:xfrm>
            <a:off x="8033125" y="3945000"/>
            <a:ext cx="863871" cy="3507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8BF8C4B1-758C-8678-7CA3-56ABE66327BE}"/>
              </a:ext>
            </a:extLst>
          </p:cNvPr>
          <p:cNvSpPr/>
          <p:nvPr/>
        </p:nvSpPr>
        <p:spPr>
          <a:xfrm rot="16200000">
            <a:off x="9448983" y="3097182"/>
            <a:ext cx="863871" cy="3507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8E8EFD-876C-6B6D-E960-831F3C24F7BC}"/>
              </a:ext>
            </a:extLst>
          </p:cNvPr>
          <p:cNvSpPr txBox="1"/>
          <p:nvPr/>
        </p:nvSpPr>
        <p:spPr>
          <a:xfrm>
            <a:off x="9206813" y="1949382"/>
            <a:ext cx="1871721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FI" sz="1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udet voittajat ja häviäjät</a:t>
            </a:r>
          </a:p>
        </p:txBody>
      </p:sp>
      <p:sp>
        <p:nvSpPr>
          <p:cNvPr id="24" name="Lightning Bolt 23">
            <a:extLst>
              <a:ext uri="{FF2B5EF4-FFF2-40B4-BE49-F238E27FC236}">
                <a16:creationId xmlns:a16="http://schemas.microsoft.com/office/drawing/2014/main" id="{C5A0D0FE-DDEC-C2F3-39C8-2EA12766F123}"/>
              </a:ext>
            </a:extLst>
          </p:cNvPr>
          <p:cNvSpPr/>
          <p:nvPr/>
        </p:nvSpPr>
        <p:spPr>
          <a:xfrm flipH="1">
            <a:off x="5012218" y="3077895"/>
            <a:ext cx="800544" cy="935860"/>
          </a:xfrm>
          <a:prstGeom prst="lightningBolt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363149-4CDC-30FC-E5F9-979D4AFED98A}"/>
              </a:ext>
            </a:extLst>
          </p:cNvPr>
          <p:cNvSpPr txBox="1"/>
          <p:nvPr/>
        </p:nvSpPr>
        <p:spPr>
          <a:xfrm>
            <a:off x="2002676" y="5516850"/>
            <a:ext cx="4447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uor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16, Distributed Attention and Shared Emotions in the Innovation Process, Administrative Science Quarterl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70C080-9BF7-02D1-CC1F-01A26A8C527C}"/>
              </a:ext>
            </a:extLst>
          </p:cNvPr>
          <p:cNvSpPr txBox="1"/>
          <p:nvPr/>
        </p:nvSpPr>
        <p:spPr>
          <a:xfrm>
            <a:off x="6992871" y="5516850"/>
            <a:ext cx="4447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uor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ushma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4, Strategic Decision-Making at Platform Transitions, Strategic Management Journ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D7FFD1-B74D-2013-7F49-62B32DF09754}"/>
              </a:ext>
            </a:extLst>
          </p:cNvPr>
          <p:cNvSpPr txBox="1"/>
          <p:nvPr/>
        </p:nvSpPr>
        <p:spPr>
          <a:xfrm>
            <a:off x="2002676" y="5946454"/>
            <a:ext cx="4447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uor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2, Regulating Top Managers’ Emotions during Strategy-Making, Academy of Management Journ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EA49917-7C39-61F0-138A-ACAE0242C79A}"/>
              </a:ext>
            </a:extLst>
          </p:cNvPr>
          <p:cNvSpPr txBox="1"/>
          <p:nvPr/>
        </p:nvSpPr>
        <p:spPr>
          <a:xfrm>
            <a:off x="6992870" y="5946453"/>
            <a:ext cx="4447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uor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928B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4, Emotions and Attentional Engagement in the Attention-Based View of the Firm, Strategic Organization</a:t>
            </a:r>
          </a:p>
        </p:txBody>
      </p:sp>
    </p:spTree>
    <p:extLst>
      <p:ext uri="{BB962C8B-B14F-4D97-AF65-F5344CB8AC3E}">
        <p14:creationId xmlns:p14="http://schemas.microsoft.com/office/powerpoint/2010/main" val="243878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409AF-E138-19CB-3B3A-6A2AC290D0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926D19F8-3729-39F5-B251-56E2047286CC}"/>
              </a:ext>
            </a:extLst>
          </p:cNvPr>
          <p:cNvSpPr/>
          <p:nvPr/>
        </p:nvSpPr>
        <p:spPr>
          <a:xfrm>
            <a:off x="0" y="0"/>
            <a:ext cx="12221833" cy="6858000"/>
          </a:xfrm>
          <a:prstGeom prst="rect">
            <a:avLst/>
          </a:prstGeom>
          <a:solidFill>
            <a:srgbClr val="0949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C4624C-F5D0-3CFB-1DF4-5EF9C2D536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6487" y="3142252"/>
            <a:ext cx="1912771" cy="1955798"/>
          </a:xfrm>
        </p:spPr>
        <p:txBody>
          <a:bodyPr anchor="ctr" anchorCtr="1">
            <a:normAutofit fontScale="25000" lnSpcReduction="20000"/>
          </a:bodyPr>
          <a:lstStyle/>
          <a:p>
            <a:r>
              <a:rPr lang="fi-FI" sz="7200" b="1" dirty="0">
                <a:solidFill>
                  <a:schemeClr val="bg1"/>
                </a:solidFill>
              </a:rPr>
              <a:t>Esko Aho</a:t>
            </a:r>
            <a:endParaRPr lang="fi-FI" sz="72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r>
              <a:rPr lang="fi-FI" sz="6000" dirty="0">
                <a:solidFill>
                  <a:schemeClr val="bg1"/>
                </a:solidFill>
              </a:rPr>
              <a:t>Suomen pääministeri </a:t>
            </a:r>
            <a:br>
              <a:rPr lang="fi-FI" sz="6000" dirty="0">
                <a:solidFill>
                  <a:schemeClr val="bg1"/>
                </a:solidFill>
              </a:rPr>
            </a:br>
            <a:r>
              <a:rPr lang="fi-FI" sz="6000" dirty="0">
                <a:solidFill>
                  <a:schemeClr val="bg1"/>
                </a:solidFill>
              </a:rPr>
              <a:t>1991–1995, </a:t>
            </a:r>
          </a:p>
          <a:p>
            <a:pPr>
              <a:lnSpc>
                <a:spcPct val="110000"/>
              </a:lnSpc>
            </a:pPr>
            <a:r>
              <a:rPr lang="fi-FI" sz="6000" dirty="0">
                <a:solidFill>
                  <a:schemeClr val="bg1"/>
                </a:solidFill>
              </a:rPr>
              <a:t>Nokian yhteiskuntasuhteista vastaava johtokunnan jäsen </a:t>
            </a:r>
            <a:br>
              <a:rPr lang="fi-FI" sz="6000" dirty="0">
                <a:solidFill>
                  <a:schemeClr val="bg1"/>
                </a:solidFill>
              </a:rPr>
            </a:br>
            <a:r>
              <a:rPr lang="fi-FI" sz="6000" dirty="0">
                <a:solidFill>
                  <a:schemeClr val="bg1"/>
                </a:solidFill>
              </a:rPr>
              <a:t>2009–2012</a:t>
            </a:r>
          </a:p>
        </p:txBody>
      </p:sp>
      <p:pic>
        <p:nvPicPr>
          <p:cNvPr id="9" name="Picture 8" descr="A person in a suit with his arms crossed&#10;&#10;AI-generated content may be incorrect.">
            <a:extLst>
              <a:ext uri="{FF2B5EF4-FFF2-40B4-BE49-F238E27FC236}">
                <a16:creationId xmlns:a16="http://schemas.microsoft.com/office/drawing/2014/main" id="{435A4A07-D638-6DF9-0EA2-42BBCECE59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" b="25642"/>
          <a:stretch/>
        </p:blipFill>
        <p:spPr>
          <a:xfrm>
            <a:off x="226995" y="674570"/>
            <a:ext cx="2155644" cy="2155644"/>
          </a:xfrm>
          <a:prstGeom prst="ellipse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B86093A-DAA0-561F-9FA0-B0C999ECBD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2" r="4302"/>
          <a:stretch/>
        </p:blipFill>
        <p:spPr>
          <a:xfrm>
            <a:off x="4997936" y="702850"/>
            <a:ext cx="2155644" cy="2155644"/>
          </a:xfrm>
          <a:prstGeom prst="ellipse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EA7430F-1BA6-4D6D-BB3F-91E4EA0A31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" t="11034" b="11012"/>
          <a:stretch/>
        </p:blipFill>
        <p:spPr>
          <a:xfrm>
            <a:off x="2572278" y="2549551"/>
            <a:ext cx="2155644" cy="2155644"/>
          </a:xfrm>
          <a:prstGeom prst="ellipse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B2FBAB-EDFF-696A-573B-F8429E7118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0" t="3493" r="13062" b="50000"/>
          <a:stretch/>
        </p:blipFill>
        <p:spPr>
          <a:xfrm>
            <a:off x="9809361" y="702850"/>
            <a:ext cx="2155644" cy="2155644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1EA283D-8655-9652-448C-B9013B7377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97" t="6462" r="25090" b="24696"/>
          <a:stretch/>
        </p:blipFill>
        <p:spPr>
          <a:xfrm>
            <a:off x="7537388" y="2483522"/>
            <a:ext cx="2155644" cy="2155644"/>
          </a:xfrm>
          <a:prstGeom prst="ellipse">
            <a:avLst/>
          </a:prstGeom>
        </p:spPr>
      </p:pic>
      <p:sp>
        <p:nvSpPr>
          <p:cNvPr id="17" name="Subtitle 2">
            <a:extLst>
              <a:ext uri="{FF2B5EF4-FFF2-40B4-BE49-F238E27FC236}">
                <a16:creationId xmlns:a16="http://schemas.microsoft.com/office/drawing/2014/main" id="{4D09AEDC-C8C6-A181-9AB4-466674C7BC21}"/>
              </a:ext>
            </a:extLst>
          </p:cNvPr>
          <p:cNvSpPr txBox="1">
            <a:spLocks/>
          </p:cNvSpPr>
          <p:nvPr/>
        </p:nvSpPr>
        <p:spPr>
          <a:xfrm>
            <a:off x="5161100" y="3142252"/>
            <a:ext cx="1899627" cy="937804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1800" b="1" dirty="0">
                <a:solidFill>
                  <a:schemeClr val="bg1"/>
                </a:solidFill>
              </a:rPr>
              <a:t>Pekka Pesonen</a:t>
            </a:r>
          </a:p>
          <a:p>
            <a:r>
              <a:rPr lang="fi-FI" sz="1500" dirty="0">
                <a:solidFill>
                  <a:schemeClr val="bg1"/>
                </a:solidFill>
              </a:rPr>
              <a:t> projektijohtaja,</a:t>
            </a:r>
          </a:p>
          <a:p>
            <a:r>
              <a:rPr lang="fi-FI" sz="1500" dirty="0">
                <a:solidFill>
                  <a:schemeClr val="bg1"/>
                </a:solidFill>
              </a:rPr>
              <a:t> Nokian entinen Bridge-ohjelma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5216ED7C-B8F1-F27A-0F7A-FD6E9C5B6DF0}"/>
              </a:ext>
            </a:extLst>
          </p:cNvPr>
          <p:cNvSpPr txBox="1">
            <a:spLocks/>
          </p:cNvSpPr>
          <p:nvPr/>
        </p:nvSpPr>
        <p:spPr>
          <a:xfrm>
            <a:off x="2547582" y="4799017"/>
            <a:ext cx="2222534" cy="1588548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1800" b="1" dirty="0">
                <a:solidFill>
                  <a:schemeClr val="bg1"/>
                </a:solidFill>
              </a:rPr>
              <a:t>Kaisa Olkkonen</a:t>
            </a:r>
            <a:endParaRPr lang="fi-FI" sz="1800" dirty="0">
              <a:solidFill>
                <a:schemeClr val="bg1"/>
              </a:solidFill>
            </a:endParaRPr>
          </a:p>
          <a:p>
            <a:r>
              <a:rPr lang="fi-FI" sz="1500" dirty="0">
                <a:solidFill>
                  <a:schemeClr val="bg1"/>
                </a:solidFill>
              </a:rPr>
              <a:t>hallitusammattilainen,</a:t>
            </a:r>
          </a:p>
          <a:p>
            <a:r>
              <a:rPr lang="fi-FI" sz="1500" dirty="0">
                <a:solidFill>
                  <a:schemeClr val="bg1"/>
                </a:solidFill>
              </a:rPr>
              <a:t> Nokian yhteiskunta</a:t>
            </a:r>
            <a:br>
              <a:rPr lang="fi-FI" sz="1500" dirty="0">
                <a:solidFill>
                  <a:schemeClr val="bg1"/>
                </a:solidFill>
              </a:rPr>
            </a:br>
            <a:r>
              <a:rPr lang="fi-FI" sz="1500" dirty="0">
                <a:solidFill>
                  <a:schemeClr val="bg1"/>
                </a:solidFill>
              </a:rPr>
              <a:t>suhdejohtaja </a:t>
            </a:r>
            <a:br>
              <a:rPr lang="fi-FI" sz="1500" dirty="0">
                <a:solidFill>
                  <a:schemeClr val="bg1"/>
                </a:solidFill>
              </a:rPr>
            </a:br>
            <a:r>
              <a:rPr lang="fi-FI" sz="1500" dirty="0">
                <a:solidFill>
                  <a:schemeClr val="bg1"/>
                </a:solidFill>
              </a:rPr>
              <a:t>2010–2016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87FA5BD-41BD-B9B3-6421-70DC0DB01605}"/>
              </a:ext>
            </a:extLst>
          </p:cNvPr>
          <p:cNvSpPr txBox="1">
            <a:spLocks/>
          </p:cNvSpPr>
          <p:nvPr/>
        </p:nvSpPr>
        <p:spPr>
          <a:xfrm>
            <a:off x="7731647" y="4799017"/>
            <a:ext cx="1912771" cy="939592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1900" b="1" dirty="0">
                <a:solidFill>
                  <a:schemeClr val="bg1"/>
                </a:solidFill>
              </a:rPr>
              <a:t>Timo vuori</a:t>
            </a:r>
          </a:p>
          <a:p>
            <a:r>
              <a:rPr lang="fi-FI" sz="1600" dirty="0">
                <a:solidFill>
                  <a:schemeClr val="bg1"/>
                </a:solidFill>
              </a:rPr>
              <a:t>strategiaprofessori,</a:t>
            </a:r>
          </a:p>
          <a:p>
            <a:r>
              <a:rPr lang="fi-FI" sz="1600" dirty="0">
                <a:solidFill>
                  <a:schemeClr val="bg1"/>
                </a:solidFill>
              </a:rPr>
              <a:t> Aalto-yliopisto</a:t>
            </a:r>
            <a:endParaRPr lang="fi-FI" sz="1500" dirty="0">
              <a:solidFill>
                <a:schemeClr val="bg1"/>
              </a:solidFill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D8FAD030-4276-1621-6A49-8ED29DE03D9C}"/>
              </a:ext>
            </a:extLst>
          </p:cNvPr>
          <p:cNvSpPr txBox="1">
            <a:spLocks/>
          </p:cNvSpPr>
          <p:nvPr/>
        </p:nvSpPr>
        <p:spPr>
          <a:xfrm>
            <a:off x="9826390" y="2930736"/>
            <a:ext cx="2262083" cy="1708430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1800" b="1" dirty="0">
                <a:solidFill>
                  <a:schemeClr val="bg1"/>
                </a:solidFill>
              </a:rPr>
              <a:t>Petri Rouvinen</a:t>
            </a:r>
          </a:p>
          <a:p>
            <a:r>
              <a:rPr lang="fi-FI" sz="1500" dirty="0">
                <a:solidFill>
                  <a:schemeClr val="bg1"/>
                </a:solidFill>
              </a:rPr>
              <a:t>tutkimusneuvonantaja, </a:t>
            </a:r>
            <a:br>
              <a:rPr lang="fi-FI" sz="1500" dirty="0">
                <a:solidFill>
                  <a:schemeClr val="bg1"/>
                </a:solidFill>
              </a:rPr>
            </a:br>
            <a:br>
              <a:rPr lang="fi-FI" sz="1500" dirty="0">
                <a:solidFill>
                  <a:schemeClr val="bg1"/>
                </a:solidFill>
              </a:rPr>
            </a:br>
            <a:r>
              <a:rPr lang="fi-FI" sz="1500" dirty="0">
                <a:solidFill>
                  <a:schemeClr val="bg1"/>
                </a:solidFill>
              </a:rPr>
              <a:t>Etla,</a:t>
            </a:r>
            <a:br>
              <a:rPr lang="fi-FI" sz="1500" dirty="0">
                <a:solidFill>
                  <a:schemeClr val="bg1"/>
                </a:solidFill>
              </a:rPr>
            </a:br>
            <a:r>
              <a:rPr lang="fi-FI" sz="1500" dirty="0">
                <a:solidFill>
                  <a:schemeClr val="bg1"/>
                </a:solidFill>
              </a:rPr>
              <a:t>paneelikeskustelun moderaattori</a:t>
            </a:r>
          </a:p>
        </p:txBody>
      </p:sp>
    </p:spTree>
    <p:extLst>
      <p:ext uri="{BB962C8B-B14F-4D97-AF65-F5344CB8AC3E}">
        <p14:creationId xmlns:p14="http://schemas.microsoft.com/office/powerpoint/2010/main" val="14774337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D829F6-2E61-4240-BAC0-00AE8B0063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B5B289FA-793B-FB44-4044-A02EC7E4E2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601EF14-D422-DF46-FB52-B20428566CCC}"/>
              </a:ext>
            </a:extLst>
          </p:cNvPr>
          <p:cNvSpPr/>
          <p:nvPr/>
        </p:nvSpPr>
        <p:spPr>
          <a:xfrm>
            <a:off x="0" y="-12486"/>
            <a:ext cx="12192000" cy="6870486"/>
          </a:xfrm>
          <a:prstGeom prst="rect">
            <a:avLst/>
          </a:prstGeom>
          <a:solidFill>
            <a:srgbClr val="09497C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4AAC659F-4734-EB38-1DDF-ADBB5FFE30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20" y="2011033"/>
            <a:ext cx="2194560" cy="219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123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5D2EB8-E7BA-5985-ED96-E834FA8CD8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and white light&#10;&#10;AI-generated content may be incorrect.">
            <a:extLst>
              <a:ext uri="{FF2B5EF4-FFF2-40B4-BE49-F238E27FC236}">
                <a16:creationId xmlns:a16="http://schemas.microsoft.com/office/drawing/2014/main" id="{063BA515-F529-AB66-3952-96235DB5EE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747C765-6AA4-402F-33F5-A3D46705EDCA}"/>
              </a:ext>
            </a:extLst>
          </p:cNvPr>
          <p:cNvSpPr/>
          <p:nvPr/>
        </p:nvSpPr>
        <p:spPr>
          <a:xfrm>
            <a:off x="7343108" y="0"/>
            <a:ext cx="4848892" cy="6858000"/>
          </a:xfrm>
          <a:prstGeom prst="rect">
            <a:avLst/>
          </a:prstGeom>
          <a:solidFill>
            <a:srgbClr val="0949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F98CF5-43C4-92A9-305E-D1C2850EE1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68919" y="2080234"/>
            <a:ext cx="4934712" cy="1004507"/>
          </a:xfrm>
        </p:spPr>
        <p:txBody>
          <a:bodyPr>
            <a:normAutofit/>
          </a:bodyPr>
          <a:lstStyle/>
          <a:p>
            <a:r>
              <a:rPr lang="fi-FI" sz="5400" dirty="0">
                <a:solidFill>
                  <a:schemeClr val="bg1"/>
                </a:solidFill>
              </a:rPr>
              <a:t>Petri Rouvinen</a:t>
            </a:r>
            <a:endParaRPr lang="LID4096" sz="54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5CAEED9-DA09-0BC3-A6F8-7E49210CB9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390" y="3287030"/>
            <a:ext cx="4572327" cy="885354"/>
          </a:xfrm>
        </p:spPr>
        <p:txBody>
          <a:bodyPr/>
          <a:lstStyle/>
          <a:p>
            <a:r>
              <a:rPr lang="fi-FI" sz="2400" dirty="0">
                <a:solidFill>
                  <a:schemeClr val="bg1"/>
                </a:solidFill>
              </a:rPr>
              <a:t>tutkimusneuvonantaja</a:t>
            </a:r>
          </a:p>
          <a:p>
            <a:r>
              <a:rPr lang="fi-FI" sz="2400" dirty="0">
                <a:solidFill>
                  <a:schemeClr val="bg1"/>
                </a:solidFill>
              </a:rPr>
              <a:t>Etla</a:t>
            </a:r>
            <a:endParaRPr lang="LID4096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0240DF8-0EED-873A-CBF7-8A08EDB74E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0" t="3173" r="535" b="31175"/>
          <a:stretch/>
        </p:blipFill>
        <p:spPr>
          <a:xfrm>
            <a:off x="1161288" y="819674"/>
            <a:ext cx="4934712" cy="4934712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09970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ue and white rectangular object with text&#10;&#10;AI-generated content may be incorrect.">
            <a:extLst>
              <a:ext uri="{FF2B5EF4-FFF2-40B4-BE49-F238E27FC236}">
                <a16:creationId xmlns:a16="http://schemas.microsoft.com/office/drawing/2014/main" id="{814E631A-2EA6-F668-09B1-E82473E64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32" y="90055"/>
            <a:ext cx="4674195" cy="665018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 descr="A person wearing glasses and a suit&#10;&#10;AI-generated content may be incorrect.">
            <a:extLst>
              <a:ext uri="{FF2B5EF4-FFF2-40B4-BE49-F238E27FC236}">
                <a16:creationId xmlns:a16="http://schemas.microsoft.com/office/drawing/2014/main" id="{9FC01D0F-BAA1-1712-CDA1-B0B82C84BF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801" y="1471909"/>
            <a:ext cx="1935596" cy="19355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 descr="A person with his hand on his chin&#10;&#10;AI-generated content may be incorrect.">
            <a:extLst>
              <a:ext uri="{FF2B5EF4-FFF2-40B4-BE49-F238E27FC236}">
                <a16:creationId xmlns:a16="http://schemas.microsoft.com/office/drawing/2014/main" id="{95B1F184-E02A-F328-EE66-B665134F31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756" y="1471307"/>
            <a:ext cx="1946726" cy="19467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 descr="A person in a suit&#10;&#10;AI-generated content may be incorrect.">
            <a:extLst>
              <a:ext uri="{FF2B5EF4-FFF2-40B4-BE49-F238E27FC236}">
                <a16:creationId xmlns:a16="http://schemas.microsoft.com/office/drawing/2014/main" id="{FA960976-3365-2EA0-94C2-615F3DE9A6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4301" y="1471910"/>
            <a:ext cx="1935595" cy="19355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547A0FBC-532D-ED39-5740-13200BA5A31F}"/>
              </a:ext>
            </a:extLst>
          </p:cNvPr>
          <p:cNvSpPr/>
          <p:nvPr/>
        </p:nvSpPr>
        <p:spPr>
          <a:xfrm>
            <a:off x="5331199" y="1471307"/>
            <a:ext cx="1936800" cy="1936800"/>
          </a:xfrm>
          <a:prstGeom prst="ellipse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CF18395A-5361-2220-5447-E2EDC518D86C}"/>
              </a:ext>
            </a:extLst>
          </p:cNvPr>
          <p:cNvSpPr/>
          <p:nvPr/>
        </p:nvSpPr>
        <p:spPr>
          <a:xfrm>
            <a:off x="7529719" y="1476270"/>
            <a:ext cx="1936800" cy="1936800"/>
          </a:xfrm>
          <a:prstGeom prst="ellipse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ACF886E-AF5B-0981-D29C-59F66233EE72}"/>
              </a:ext>
            </a:extLst>
          </p:cNvPr>
          <p:cNvSpPr/>
          <p:nvPr/>
        </p:nvSpPr>
        <p:spPr>
          <a:xfrm>
            <a:off x="9733698" y="1471307"/>
            <a:ext cx="1936800" cy="1936800"/>
          </a:xfrm>
          <a:prstGeom prst="ellipse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2EC3E17-EC97-5E63-7D30-4E5B46A2B0D1}"/>
              </a:ext>
            </a:extLst>
          </p:cNvPr>
          <p:cNvSpPr txBox="1"/>
          <p:nvPr/>
        </p:nvSpPr>
        <p:spPr>
          <a:xfrm>
            <a:off x="5343309" y="3415146"/>
            <a:ext cx="191258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002C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tri 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02C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uvinen</a:t>
            </a:r>
            <a:endParaRPr kumimoji="0" lang="fi-FI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0087C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tkimusneuvonanta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87C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l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A49B569-A88E-21B2-453B-77E4C4165757}"/>
              </a:ext>
            </a:extLst>
          </p:cNvPr>
          <p:cNvSpPr txBox="1"/>
          <p:nvPr/>
        </p:nvSpPr>
        <p:spPr>
          <a:xfrm>
            <a:off x="9734301" y="3415146"/>
            <a:ext cx="193559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002C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ka 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02C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jarinen</a:t>
            </a:r>
            <a:endParaRPr kumimoji="0" lang="fi-FI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0087C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utki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87C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la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17551A9-0A37-A9CE-0347-B4B460CDE31B}"/>
              </a:ext>
            </a:extLst>
          </p:cNvPr>
          <p:cNvSpPr txBox="1"/>
          <p:nvPr/>
        </p:nvSpPr>
        <p:spPr>
          <a:xfrm>
            <a:off x="4804236" y="6445124"/>
            <a:ext cx="73877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ub.etla.fi/ETLA-Muistio-Brief-158.pdf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A48D4EB-A782-B35E-FBFC-70E02A7B484F}"/>
              </a:ext>
            </a:extLst>
          </p:cNvPr>
          <p:cNvSpPr txBox="1"/>
          <p:nvPr/>
        </p:nvSpPr>
        <p:spPr>
          <a:xfrm>
            <a:off x="7563865" y="3422996"/>
            <a:ext cx="191258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002C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n 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02C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eznitz</a:t>
            </a:r>
            <a:endParaRPr kumimoji="0" lang="fi-FI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87C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ess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87CC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iv. of Toronto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82C8695-5E14-8171-48F3-8E056204E004}"/>
              </a:ext>
            </a:extLst>
          </p:cNvPr>
          <p:cNvGrpSpPr/>
          <p:nvPr/>
        </p:nvGrpSpPr>
        <p:grpSpPr>
          <a:xfrm>
            <a:off x="9615055" y="90055"/>
            <a:ext cx="2054841" cy="539052"/>
            <a:chOff x="9579735" y="90055"/>
            <a:chExt cx="2090161" cy="559834"/>
          </a:xfrm>
        </p:grpSpPr>
        <p:pic>
          <p:nvPicPr>
            <p:cNvPr id="46" name="Picture 45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AA22E78F-8EAC-0361-BFC7-C81988E1A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10062" y="90055"/>
              <a:ext cx="559834" cy="55983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7" name="Picture 46" descr="A blue text on a black background&#10;&#10;Description automatically generated">
              <a:extLst>
                <a:ext uri="{FF2B5EF4-FFF2-40B4-BE49-F238E27FC236}">
                  <a16:creationId xmlns:a16="http://schemas.microsoft.com/office/drawing/2014/main" id="{8869AF38-0921-ED13-48C6-575E70D7D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9735" y="90060"/>
              <a:ext cx="1326609" cy="5598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48402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ook cover of a book&#10;&#10;AI-generated content may be incorrect.">
            <a:extLst>
              <a:ext uri="{FF2B5EF4-FFF2-40B4-BE49-F238E27FC236}">
                <a16:creationId xmlns:a16="http://schemas.microsoft.com/office/drawing/2014/main" id="{8A4BD57E-8A47-BF78-F4C5-53BA0F8485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47" y="1123527"/>
            <a:ext cx="2866488" cy="4604800"/>
          </a:xfrm>
          <a:prstGeom prst="rect">
            <a:avLst/>
          </a:prstGeom>
        </p:spPr>
      </p:pic>
      <p:pic>
        <p:nvPicPr>
          <p:cNvPr id="5" name="Picture 4" descr="A red book cover with a cartoon character&#10;&#10;AI-generated content may be incorrect.">
            <a:extLst>
              <a:ext uri="{FF2B5EF4-FFF2-40B4-BE49-F238E27FC236}">
                <a16:creationId xmlns:a16="http://schemas.microsoft.com/office/drawing/2014/main" id="{DEEBDD07-FED6-9EF7-9155-FF28ACF329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472" y="1123527"/>
            <a:ext cx="3119752" cy="4604800"/>
          </a:xfrm>
          <a:prstGeom prst="rect">
            <a:avLst/>
          </a:prstGeom>
        </p:spPr>
      </p:pic>
      <p:pic>
        <p:nvPicPr>
          <p:cNvPr id="3" name="Picture 2" descr="A book cover with text&#10;&#10;AI-generated content may be incorrect.">
            <a:extLst>
              <a:ext uri="{FF2B5EF4-FFF2-40B4-BE49-F238E27FC236}">
                <a16:creationId xmlns:a16="http://schemas.microsoft.com/office/drawing/2014/main" id="{5FD04A08-3F05-F804-3D69-09068A49E9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7068" y="1123528"/>
            <a:ext cx="3027656" cy="46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391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white light&#10;&#10;AI-generated content may be incorrect.">
            <a:extLst>
              <a:ext uri="{FF2B5EF4-FFF2-40B4-BE49-F238E27FC236}">
                <a16:creationId xmlns:a16="http://schemas.microsoft.com/office/drawing/2014/main" id="{EEE27E7B-F349-B1B9-A97E-130C7D7ACA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E32FA6-85D9-D519-FB09-653716A44BB5}"/>
              </a:ext>
            </a:extLst>
          </p:cNvPr>
          <p:cNvSpPr txBox="1">
            <a:spLocks/>
          </p:cNvSpPr>
          <p:nvPr/>
        </p:nvSpPr>
        <p:spPr>
          <a:xfrm>
            <a:off x="536226" y="4705977"/>
            <a:ext cx="9144000" cy="14662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hteenveto</a:t>
            </a:r>
            <a:endParaRPr kumimoji="0" lang="LID4096" sz="10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6" descr="A blue background with white text&#10;&#10;AI-generated content may be incorrect.">
            <a:extLst>
              <a:ext uri="{FF2B5EF4-FFF2-40B4-BE49-F238E27FC236}">
                <a16:creationId xmlns:a16="http://schemas.microsoft.com/office/drawing/2014/main" id="{2B9F2868-E17A-3F1F-747E-C1B8F9ACE3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292" y="110722"/>
            <a:ext cx="1182638" cy="118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429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B490F54-091A-0907-0BE3-BE9D6092424E}"/>
              </a:ext>
            </a:extLst>
          </p:cNvPr>
          <p:cNvSpPr txBox="1"/>
          <p:nvPr/>
        </p:nvSpPr>
        <p:spPr>
          <a:xfrm>
            <a:off x="1326573" y="1076696"/>
            <a:ext cx="9802092" cy="5724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kia 2008–2014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kumimoji="0" lang="fi-FI" sz="3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rittäjiksi &amp; bisnesenkeleiksi</a:t>
            </a:r>
            <a:r>
              <a:rPr kumimoji="0" lang="fi-FI" sz="3600" b="0" i="1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90000"/>
                  <a:lumOff val="1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ertailukohtana muut </a:t>
            </a:r>
            <a:r>
              <a:rPr kumimoji="0" lang="fi-FI" sz="3600" b="0" i="1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p 10 </a:t>
            </a:r>
            <a:r>
              <a:rPr kumimoji="0" lang="fi-FI" sz="3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knologiayritystä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90000"/>
                  <a:lumOff val="1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90000"/>
                  <a:lumOff val="1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lastokeskuksen rekisteriaineisto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lila </a:t>
            </a: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aukkomaa 2013: ”Mahdoton menestys”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614F2E9-1C9F-5927-A1AA-94B52357424C}"/>
              </a:ext>
            </a:extLst>
          </p:cNvPr>
          <p:cNvCxnSpPr/>
          <p:nvPr/>
        </p:nvCxnSpPr>
        <p:spPr>
          <a:xfrm>
            <a:off x="1420091" y="6137564"/>
            <a:ext cx="76892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983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947E88-DA5B-73FC-03AA-F9DF96154841}"/>
              </a:ext>
            </a:extLst>
          </p:cNvPr>
          <p:cNvSpPr txBox="1"/>
          <p:nvPr/>
        </p:nvSpPr>
        <p:spPr>
          <a:xfrm>
            <a:off x="1478973" y="308499"/>
            <a:ext cx="9802092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2</a:t>
            </a: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44 lähteneestä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0" lang="fi-FI" sz="16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48 </a:t>
            </a:r>
            <a:r>
              <a:rPr kumimoji="0" lang="fi-FI" sz="26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8,3</a:t>
            </a:r>
            <a:r>
              <a:rPr kumimoji="0" lang="fi-FI" sz="17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</a:t>
            </a:r>
            <a:r>
              <a:rPr kumimoji="0" lang="fi-FI" sz="26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yrittäjäksi/bisnesenkeliks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kiasta startup-yrittäjäksi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X todennäköisemm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-Nokialaiset perustivat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27 uutta startup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opeampi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ikevaihdon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svu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fi-FI" sz="26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3 vuott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0E2841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0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%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opeampi </a:t>
            </a:r>
            <a:r>
              <a:rPr kumimoji="0" lang="fi-FI" sz="3200" b="0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v. kasvu </a:t>
            </a: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0E2841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novaattoreilla</a:t>
            </a:r>
            <a:endParaRPr kumimoji="0" lang="fi-FI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862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Aalto EE">
  <a:themeElements>
    <a:clrScheme name="Aalto EE 2023">
      <a:dk1>
        <a:sysClr val="windowText" lastClr="000000"/>
      </a:dk1>
      <a:lt1>
        <a:sysClr val="window" lastClr="FFFFFF"/>
      </a:lt1>
      <a:dk2>
        <a:srgbClr val="D5D2CA"/>
      </a:dk2>
      <a:lt2>
        <a:srgbClr val="928B81"/>
      </a:lt2>
      <a:accent1>
        <a:srgbClr val="45004D"/>
      </a:accent1>
      <a:accent2>
        <a:srgbClr val="B1059D"/>
      </a:accent2>
      <a:accent3>
        <a:srgbClr val="F7D2B9"/>
      </a:accent3>
      <a:accent4>
        <a:srgbClr val="D99216"/>
      </a:accent4>
      <a:accent5>
        <a:srgbClr val="AAE250"/>
      </a:accent5>
      <a:accent6>
        <a:srgbClr val="80B9FF"/>
      </a:accent6>
      <a:hlink>
        <a:srgbClr val="45004D"/>
      </a:hlink>
      <a:folHlink>
        <a:srgbClr val="45004D"/>
      </a:folHlink>
    </a:clrScheme>
    <a:fontScheme name="aal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63CEAEA1-4588-48EE-9D99-F52BD5D86726}" vid="{1F51377C-4678-4A11-9A54-C9D2FAC33E7C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7</TotalTime>
  <Words>1205</Words>
  <Application>Microsoft Office PowerPoint</Application>
  <PresentationFormat>Laajakuva</PresentationFormat>
  <Paragraphs>267</Paragraphs>
  <Slides>36</Slides>
  <Notes>10</Notes>
  <HiddenSlides>0</HiddenSlides>
  <MMClips>0</MMClips>
  <ScaleCrop>false</ScaleCrop>
  <HeadingPairs>
    <vt:vector size="8" baseType="variant">
      <vt:variant>
        <vt:lpstr>Käytetyt fontit</vt:lpstr>
      </vt:variant>
      <vt:variant>
        <vt:i4>7</vt:i4>
      </vt:variant>
      <vt:variant>
        <vt:lpstr>Teema</vt:lpstr>
      </vt:variant>
      <vt:variant>
        <vt:i4>5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36</vt:i4>
      </vt:variant>
    </vt:vector>
  </HeadingPairs>
  <TitlesOfParts>
    <vt:vector size="49" baseType="lpstr">
      <vt:lpstr>Aptos</vt:lpstr>
      <vt:lpstr>Aptos Display</vt:lpstr>
      <vt:lpstr>Arial</vt:lpstr>
      <vt:lpstr>Arial Black</vt:lpstr>
      <vt:lpstr>Calibri</vt:lpstr>
      <vt:lpstr>Calibri Light</vt:lpstr>
      <vt:lpstr>Palatino Linotype</vt:lpstr>
      <vt:lpstr>Office Theme</vt:lpstr>
      <vt:lpstr>1_Office Theme</vt:lpstr>
      <vt:lpstr>2_Office Theme</vt:lpstr>
      <vt:lpstr>3_Office Theme</vt:lpstr>
      <vt:lpstr>Aalto EE</vt:lpstr>
      <vt:lpstr>think-cell Slide</vt:lpstr>
      <vt:lpstr>Nokiasta 2008–2014 lähteneiden tie yrittäjiksi</vt:lpstr>
      <vt:lpstr>Tytti Sulander</vt:lpstr>
      <vt:lpstr>Nokiasta 2008–2014 lähteneiden tie yrittäjiksi</vt:lpstr>
      <vt:lpstr>Petri Rouvinen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Timo Vuori</vt:lpstr>
      <vt:lpstr>Disruption rikkoo vanhan toimintalogiikan ja osaamisen</vt:lpstr>
      <vt:lpstr>PowerPoint-esitys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uliana Hulkkonen</dc:creator>
  <cp:lastModifiedBy>Tytti Sulander</cp:lastModifiedBy>
  <cp:revision>31</cp:revision>
  <dcterms:created xsi:type="dcterms:W3CDTF">2025-04-14T05:46:12Z</dcterms:created>
  <dcterms:modified xsi:type="dcterms:W3CDTF">2025-04-17T11:21:36Z</dcterms:modified>
</cp:coreProperties>
</file>